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4"/>
  </p:sldMasterIdLst>
  <p:notesMasterIdLst>
    <p:notesMasterId r:id="rId27"/>
  </p:notesMasterIdLst>
  <p:sldIdLst>
    <p:sldId id="324" r:id="rId5"/>
    <p:sldId id="277" r:id="rId6"/>
    <p:sldId id="435" r:id="rId7"/>
    <p:sldId id="418" r:id="rId8"/>
    <p:sldId id="440" r:id="rId9"/>
    <p:sldId id="396" r:id="rId10"/>
    <p:sldId id="436" r:id="rId11"/>
    <p:sldId id="417" r:id="rId12"/>
    <p:sldId id="347" r:id="rId13"/>
    <p:sldId id="425" r:id="rId14"/>
    <p:sldId id="424" r:id="rId15"/>
    <p:sldId id="346" r:id="rId16"/>
    <p:sldId id="422" r:id="rId17"/>
    <p:sldId id="423" r:id="rId18"/>
    <p:sldId id="430" r:id="rId19"/>
    <p:sldId id="431" r:id="rId20"/>
    <p:sldId id="433" r:id="rId21"/>
    <p:sldId id="345" r:id="rId22"/>
    <p:sldId id="441" r:id="rId23"/>
    <p:sldId id="344" r:id="rId24"/>
    <p:sldId id="437" r:id="rId25"/>
    <p:sldId id="421" r:id="rId26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rt" id="{624C6159-D1DF-44FC-9709-6644ED5824D5}">
          <p14:sldIdLst>
            <p14:sldId id="324"/>
          </p14:sldIdLst>
        </p14:section>
        <p14:section name="Introduction" id="{0BD5C43E-E745-4190-BEBD-495A6780FC31}">
          <p14:sldIdLst>
            <p14:sldId id="277"/>
            <p14:sldId id="435"/>
            <p14:sldId id="418"/>
            <p14:sldId id="440"/>
            <p14:sldId id="396"/>
          </p14:sldIdLst>
        </p14:section>
        <p14:section name="Abschnitt ohne Titel" id="{16B6825A-B4F3-45A3-8D54-CDB332456792}">
          <p14:sldIdLst>
            <p14:sldId id="436"/>
            <p14:sldId id="417"/>
          </p14:sldIdLst>
        </p14:section>
        <p14:section name="freq()" id="{28021490-86AC-4B24-BE77-B4D8B961C916}">
          <p14:sldIdLst>
            <p14:sldId id="347"/>
            <p14:sldId id="425"/>
            <p14:sldId id="424"/>
          </p14:sldIdLst>
        </p14:section>
        <p14:section name="ctable" id="{CC5D4DEB-5B7B-42E7-8AD4-09AC06E2C1C5}">
          <p14:sldIdLst>
            <p14:sldId id="346"/>
            <p14:sldId id="422"/>
            <p14:sldId id="423"/>
          </p14:sldIdLst>
        </p14:section>
        <p14:section name="descr" id="{DF44C0FB-D2A7-4401-ACC3-E1E104F13126}">
          <p14:sldIdLst>
            <p14:sldId id="430"/>
            <p14:sldId id="431"/>
          </p14:sldIdLst>
        </p14:section>
        <p14:section name="dfs" id="{D4C58565-992E-4C21-99B4-B8132E6A88CA}">
          <p14:sldIdLst>
            <p14:sldId id="433"/>
          </p14:sldIdLst>
        </p14:section>
        <p14:section name="Ente" id="{8FB173A0-F94B-49F4-8151-DC4C944FB0B6}">
          <p14:sldIdLst>
            <p14:sldId id="345"/>
            <p14:sldId id="441"/>
            <p14:sldId id="344"/>
          </p14:sldIdLst>
        </p14:section>
        <p14:section name="Abschnitt ohne Titel" id="{EA90EFB5-71E9-435E-B51D-206E25F59392}">
          <p14:sldIdLst>
            <p14:sldId id="437"/>
            <p14:sldId id="42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A000E"/>
    <a:srgbClr val="00FF2F"/>
    <a:srgbClr val="8E0000"/>
    <a:srgbClr val="A41010"/>
    <a:srgbClr val="C7C6C9"/>
    <a:srgbClr val="DAD9DE"/>
    <a:srgbClr val="CECDD2"/>
    <a:srgbClr val="000066"/>
    <a:srgbClr val="EEEEEE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5" d="100"/>
          <a:sy n="115" d="100"/>
        </p:scale>
        <p:origin x="634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58129D-105A-4E80-A43B-F9865E3A6D4D}" type="datetimeFigureOut">
              <a:rPr lang="de-DE" smtClean="0"/>
              <a:t>06.05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7C1657-95E9-4578-B47C-5C94AA87B0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608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7C1657-95E9-4578-B47C-5C94AA87B0C1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306204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Kreuztabelle</a:t>
            </a:r>
          </a:p>
          <a:p>
            <a:r>
              <a:rPr lang="de-DE"/>
              <a:t>-&gt; gemeinsame Häufigkeiten für </a:t>
            </a:r>
            <a:r>
              <a:rPr lang="de-DE" err="1"/>
              <a:t>katigorielle</a:t>
            </a:r>
            <a:r>
              <a:rPr lang="de-DE"/>
              <a:t> Variablen</a:t>
            </a:r>
          </a:p>
          <a:p>
            <a:endParaRPr lang="de-DE"/>
          </a:p>
          <a:p>
            <a:r>
              <a:rPr lang="de-DE"/>
              <a:t>Code:</a:t>
            </a:r>
          </a:p>
          <a:p>
            <a:r>
              <a:rPr lang="de-DE"/>
              <a:t>	-&gt; Um mehr als eine Zeile </a:t>
            </a:r>
            <a:r>
              <a:rPr lang="de-DE" err="1"/>
              <a:t>beschreibung</a:t>
            </a:r>
            <a:r>
              <a:rPr lang="de-DE"/>
              <a:t> zu schreiben : </a:t>
            </a:r>
            <a:r>
              <a:rPr lang="de-DE" err="1"/>
              <a:t>method</a:t>
            </a:r>
            <a:r>
              <a:rPr lang="de-DE"/>
              <a:t>=„</a:t>
            </a:r>
            <a:r>
              <a:rPr lang="de-DE" err="1"/>
              <a:t>render</a:t>
            </a:r>
            <a:r>
              <a:rPr lang="de-DE"/>
              <a:t>“</a:t>
            </a:r>
          </a:p>
          <a:p>
            <a:r>
              <a:rPr lang="de-DE"/>
              <a:t>	-&gt; </a:t>
            </a:r>
            <a:r>
              <a:rPr lang="de-DE" err="1"/>
              <a:t>Ergebniss</a:t>
            </a:r>
            <a:r>
              <a:rPr lang="de-DE"/>
              <a:t> in der Tabelle zu manipulieren </a:t>
            </a:r>
            <a:r>
              <a:rPr lang="fr-FR" err="1"/>
              <a:t>prop</a:t>
            </a:r>
            <a:r>
              <a:rPr lang="fr-FR"/>
              <a:t> = "</a:t>
            </a:r>
            <a:r>
              <a:rPr lang="fr-FR" err="1"/>
              <a:t>c"prop</a:t>
            </a:r>
            <a:r>
              <a:rPr lang="fr-FR"/>
              <a:t> = "</a:t>
            </a:r>
            <a:r>
              <a:rPr lang="fr-FR" err="1"/>
              <a:t>t"prop</a:t>
            </a:r>
            <a:r>
              <a:rPr lang="fr-FR"/>
              <a:t> = "n« </a:t>
            </a:r>
          </a:p>
          <a:p>
            <a:r>
              <a:rPr lang="fr-FR"/>
              <a:t>		-&gt; </a:t>
            </a:r>
            <a:r>
              <a:rPr lang="fr-FR" err="1"/>
              <a:t>um</a:t>
            </a:r>
            <a:r>
              <a:rPr lang="fr-FR"/>
              <a:t> die x² </a:t>
            </a:r>
            <a:r>
              <a:rPr lang="fr-FR" err="1"/>
              <a:t>methode</a:t>
            </a:r>
            <a:r>
              <a:rPr lang="fr-FR"/>
              <a:t> </a:t>
            </a:r>
            <a:r>
              <a:rPr lang="fr-FR" err="1"/>
              <a:t>auszuführen</a:t>
            </a:r>
            <a:r>
              <a:rPr lang="fr-FR"/>
              <a:t> </a:t>
            </a:r>
            <a:r>
              <a:rPr lang="fr-FR" err="1"/>
              <a:t>muss</a:t>
            </a:r>
            <a:r>
              <a:rPr lang="fr-FR"/>
              <a:t> der code:</a:t>
            </a:r>
            <a:r>
              <a:rPr lang="de-DE" b="0" i="0">
                <a:solidFill>
                  <a:srgbClr val="000000"/>
                </a:solidFill>
                <a:effectLst/>
                <a:latin typeface="Open Sans"/>
              </a:rPr>
              <a:t> </a:t>
            </a:r>
            <a:r>
              <a:rPr lang="de-DE" err="1"/>
              <a:t>chisq</a:t>
            </a:r>
            <a:r>
              <a:rPr lang="de-DE"/>
              <a:t> = TRUE</a:t>
            </a:r>
            <a:r>
              <a:rPr lang="fr-FR"/>
              <a:t> </a:t>
            </a:r>
            <a:r>
              <a:rPr lang="fr-FR" err="1"/>
              <a:t>hizugefügt</a:t>
            </a:r>
            <a:r>
              <a:rPr lang="fr-FR"/>
              <a:t> </a:t>
            </a:r>
            <a:r>
              <a:rPr lang="fr-FR" err="1"/>
              <a:t>werden</a:t>
            </a:r>
            <a:endParaRPr lang="fr-FR"/>
          </a:p>
          <a:p>
            <a:r>
              <a:rPr lang="fr-FR"/>
              <a:t>	-&gt; </a:t>
            </a:r>
            <a:r>
              <a:rPr lang="de-DE" b="0" i="0" err="1">
                <a:solidFill>
                  <a:srgbClr val="333333"/>
                </a:solidFill>
                <a:effectLst/>
                <a:latin typeface="Consolas" panose="020B0609020204030204" pitchFamily="49" charset="0"/>
              </a:rPr>
              <a:t>descr</a:t>
            </a:r>
            <a:r>
              <a:rPr lang="de-DE" b="0" i="0">
                <a:solidFill>
                  <a:srgbClr val="333333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fr-FR" b="0" i="0">
                <a:solidFill>
                  <a:srgbClr val="33333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fr-FR" b="0" i="0" err="1">
                <a:solidFill>
                  <a:srgbClr val="333333"/>
                </a:solidFill>
                <a:effectLst/>
                <a:latin typeface="Consolas" panose="020B0609020204030204" pitchFamily="49" charset="0"/>
              </a:rPr>
              <a:t>um</a:t>
            </a:r>
            <a:r>
              <a:rPr lang="fr-FR" b="0" i="0">
                <a:solidFill>
                  <a:srgbClr val="33333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fr-FR" b="0" i="0" err="1">
                <a:solidFill>
                  <a:srgbClr val="333333"/>
                </a:solidFill>
                <a:effectLst/>
                <a:latin typeface="Consolas" panose="020B0609020204030204" pitchFamily="49" charset="0"/>
              </a:rPr>
              <a:t>zu</a:t>
            </a:r>
            <a:r>
              <a:rPr lang="fr-FR" b="0" i="0">
                <a:solidFill>
                  <a:srgbClr val="33333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fr-FR" b="0" i="0" err="1">
                <a:solidFill>
                  <a:srgbClr val="333333"/>
                </a:solidFill>
                <a:effectLst/>
                <a:latin typeface="Consolas" panose="020B0609020204030204" pitchFamily="49" charset="0"/>
              </a:rPr>
              <a:t>beschreiben</a:t>
            </a:r>
            <a:r>
              <a:rPr lang="fr-FR" b="0" i="0">
                <a:solidFill>
                  <a:srgbClr val="333333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fr-FR" b="0" i="0" err="1">
                <a:solidFill>
                  <a:srgbClr val="333333"/>
                </a:solidFill>
                <a:effectLst/>
                <a:latin typeface="Consolas" panose="020B0609020204030204" pitchFamily="49" charset="0"/>
              </a:rPr>
              <a:t>titel</a:t>
            </a:r>
            <a:r>
              <a:rPr lang="fr-FR" b="0" i="0">
                <a:solidFill>
                  <a:srgbClr val="333333"/>
                </a:solidFill>
                <a:effectLst/>
                <a:latin typeface="Consolas" panose="020B0609020204030204" pitchFamily="49" charset="0"/>
              </a:rPr>
              <a:t>)</a:t>
            </a:r>
            <a:endParaRPr lang="de-DE"/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7C1657-95E9-4578-B47C-5C94AA87B0C1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080081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Kreuztabelle</a:t>
            </a:r>
          </a:p>
          <a:p>
            <a:r>
              <a:rPr lang="de-DE"/>
              <a:t>-&gt; gemeinsame Häufigkeiten für </a:t>
            </a:r>
            <a:r>
              <a:rPr lang="de-DE" err="1"/>
              <a:t>katigorielle</a:t>
            </a:r>
            <a:r>
              <a:rPr lang="de-DE"/>
              <a:t> Variablen</a:t>
            </a:r>
          </a:p>
          <a:p>
            <a:endParaRPr lang="de-DE"/>
          </a:p>
          <a:p>
            <a:r>
              <a:rPr lang="de-DE"/>
              <a:t>Code:</a:t>
            </a:r>
          </a:p>
          <a:p>
            <a:r>
              <a:rPr lang="de-DE"/>
              <a:t>	-&gt; Um mehr als eine Zeile </a:t>
            </a:r>
            <a:r>
              <a:rPr lang="de-DE" err="1"/>
              <a:t>beschreibung</a:t>
            </a:r>
            <a:r>
              <a:rPr lang="de-DE"/>
              <a:t> zu schreiben : </a:t>
            </a:r>
            <a:r>
              <a:rPr lang="de-DE" err="1"/>
              <a:t>method</a:t>
            </a:r>
            <a:r>
              <a:rPr lang="de-DE"/>
              <a:t>=„</a:t>
            </a:r>
            <a:r>
              <a:rPr lang="de-DE" err="1"/>
              <a:t>render</a:t>
            </a:r>
            <a:r>
              <a:rPr lang="de-DE"/>
              <a:t>“</a:t>
            </a:r>
          </a:p>
          <a:p>
            <a:r>
              <a:rPr lang="de-DE"/>
              <a:t>	-&gt; </a:t>
            </a:r>
            <a:r>
              <a:rPr lang="de-DE" err="1"/>
              <a:t>Ergebniss</a:t>
            </a:r>
            <a:r>
              <a:rPr lang="de-DE"/>
              <a:t> in der Tabelle zu manipulieren </a:t>
            </a:r>
            <a:r>
              <a:rPr lang="fr-FR" err="1"/>
              <a:t>prop</a:t>
            </a:r>
            <a:r>
              <a:rPr lang="fr-FR"/>
              <a:t> = "</a:t>
            </a:r>
            <a:r>
              <a:rPr lang="fr-FR" err="1"/>
              <a:t>c"prop</a:t>
            </a:r>
            <a:r>
              <a:rPr lang="fr-FR"/>
              <a:t> = "</a:t>
            </a:r>
            <a:r>
              <a:rPr lang="fr-FR" err="1"/>
              <a:t>t"prop</a:t>
            </a:r>
            <a:r>
              <a:rPr lang="fr-FR"/>
              <a:t> = "n« </a:t>
            </a:r>
          </a:p>
          <a:p>
            <a:r>
              <a:rPr lang="fr-FR"/>
              <a:t>		-&gt; «n » (none)</a:t>
            </a:r>
            <a:r>
              <a:rPr lang="fr-FR" err="1"/>
              <a:t>wird</a:t>
            </a:r>
            <a:r>
              <a:rPr lang="fr-FR"/>
              <a:t> </a:t>
            </a:r>
            <a:r>
              <a:rPr lang="fr-FR" err="1"/>
              <a:t>eine</a:t>
            </a:r>
            <a:r>
              <a:rPr lang="fr-FR"/>
              <a:t> 2x2 </a:t>
            </a:r>
            <a:r>
              <a:rPr lang="fr-FR" err="1"/>
              <a:t>kreuz</a:t>
            </a:r>
            <a:r>
              <a:rPr lang="fr-FR"/>
              <a:t> tabelle </a:t>
            </a:r>
            <a:r>
              <a:rPr lang="fr-FR" err="1"/>
              <a:t>gebildet</a:t>
            </a:r>
            <a:endParaRPr lang="fr-FR"/>
          </a:p>
          <a:p>
            <a:pPr lvl="2"/>
            <a:r>
              <a:rPr lang="fr-FR"/>
              <a:t>	-&gt; « r » (</a:t>
            </a:r>
            <a:r>
              <a:rPr lang="fr-FR" err="1"/>
              <a:t>row</a:t>
            </a:r>
            <a:r>
              <a:rPr lang="fr-FR"/>
              <a:t>) 2x2 mit </a:t>
            </a:r>
            <a:r>
              <a:rPr lang="fr-FR" err="1"/>
              <a:t>Prozenten</a:t>
            </a:r>
            <a:r>
              <a:rPr lang="fr-FR"/>
              <a:t> </a:t>
            </a:r>
            <a:r>
              <a:rPr lang="fr-FR" err="1"/>
              <a:t>Prozente</a:t>
            </a:r>
            <a:r>
              <a:rPr lang="fr-FR"/>
              <a:t> </a:t>
            </a:r>
            <a:r>
              <a:rPr lang="fr-FR" err="1"/>
              <a:t>nur</a:t>
            </a:r>
            <a:r>
              <a:rPr lang="fr-FR"/>
              <a:t> von der </a:t>
            </a:r>
            <a:r>
              <a:rPr lang="fr-FR" err="1"/>
              <a:t>gruppe</a:t>
            </a:r>
            <a:endParaRPr lang="fr-FR"/>
          </a:p>
          <a:p>
            <a:pPr lvl="2"/>
            <a:r>
              <a:rPr lang="fr-FR"/>
              <a:t>	-&gt; « c » (</a:t>
            </a:r>
            <a:r>
              <a:rPr lang="fr-FR" err="1"/>
              <a:t>colum</a:t>
            </a:r>
            <a:r>
              <a:rPr lang="fr-FR"/>
              <a:t>) 2x total</a:t>
            </a:r>
          </a:p>
          <a:p>
            <a:pPr lvl="2"/>
            <a:r>
              <a:rPr lang="fr-FR"/>
              <a:t>	-&gt; « t »   (total)</a:t>
            </a:r>
            <a:r>
              <a:rPr lang="fr-FR" err="1"/>
              <a:t>Prozente</a:t>
            </a:r>
            <a:r>
              <a:rPr lang="fr-FR"/>
              <a:t> </a:t>
            </a:r>
            <a:r>
              <a:rPr lang="fr-FR" err="1"/>
              <a:t>gesamte</a:t>
            </a:r>
            <a:r>
              <a:rPr lang="fr-FR"/>
              <a:t> </a:t>
            </a:r>
            <a:r>
              <a:rPr lang="fr-FR" err="1"/>
              <a:t>befragten</a:t>
            </a:r>
            <a:endParaRPr lang="fr-FR"/>
          </a:p>
          <a:p>
            <a:r>
              <a:rPr lang="fr-FR"/>
              <a:t>	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7C1657-95E9-4578-B47C-5C94AA87B0C1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63872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Kreuztabelle</a:t>
            </a:r>
          </a:p>
          <a:p>
            <a:r>
              <a:rPr lang="de-DE"/>
              <a:t>-&gt; gemeinsame Häufigkeiten für kategorielle Variablen</a:t>
            </a:r>
          </a:p>
          <a:p>
            <a:endParaRPr lang="de-DE"/>
          </a:p>
          <a:p>
            <a:r>
              <a:rPr lang="de-DE"/>
              <a:t>Code:</a:t>
            </a:r>
          </a:p>
          <a:p>
            <a:r>
              <a:rPr lang="fr-FR"/>
              <a:t>	-&gt; </a:t>
            </a:r>
            <a:r>
              <a:rPr lang="fr-FR" err="1"/>
              <a:t>um</a:t>
            </a:r>
            <a:r>
              <a:rPr lang="fr-FR"/>
              <a:t> die x² </a:t>
            </a:r>
            <a:r>
              <a:rPr lang="fr-FR" err="1"/>
              <a:t>methode</a:t>
            </a:r>
            <a:r>
              <a:rPr lang="fr-FR"/>
              <a:t> </a:t>
            </a:r>
            <a:r>
              <a:rPr lang="fr-FR" err="1"/>
              <a:t>auszuführen</a:t>
            </a:r>
            <a:r>
              <a:rPr lang="fr-FR"/>
              <a:t> </a:t>
            </a:r>
            <a:r>
              <a:rPr lang="fr-FR" err="1"/>
              <a:t>muss</a:t>
            </a:r>
            <a:r>
              <a:rPr lang="fr-FR"/>
              <a:t> der code:</a:t>
            </a:r>
            <a:r>
              <a:rPr lang="de-DE" b="0" i="0">
                <a:solidFill>
                  <a:srgbClr val="000000"/>
                </a:solidFill>
                <a:effectLst/>
                <a:latin typeface="Open Sans"/>
              </a:rPr>
              <a:t> </a:t>
            </a:r>
            <a:r>
              <a:rPr lang="de-DE" err="1"/>
              <a:t>chisq</a:t>
            </a:r>
            <a:r>
              <a:rPr lang="de-DE"/>
              <a:t> = TRUE</a:t>
            </a:r>
            <a:r>
              <a:rPr lang="fr-FR"/>
              <a:t> </a:t>
            </a:r>
            <a:r>
              <a:rPr lang="fr-FR" err="1"/>
              <a:t>hinzugefügt</a:t>
            </a:r>
            <a:r>
              <a:rPr lang="fr-FR"/>
              <a:t> </a:t>
            </a:r>
            <a:r>
              <a:rPr lang="fr-FR" err="1"/>
              <a:t>werden</a:t>
            </a:r>
            <a:endParaRPr lang="fr-FR"/>
          </a:p>
          <a:p>
            <a:r>
              <a:rPr lang="fr-FR"/>
              <a:t>		-&gt;</a:t>
            </a:r>
            <a:r>
              <a:rPr lang="de-DE" b="0" i="0">
                <a:solidFill>
                  <a:srgbClr val="DCDDDE"/>
                </a:solidFill>
                <a:effectLst/>
                <a:latin typeface="Whitney"/>
              </a:rPr>
              <a:t>Durch den hohen Chi-</a:t>
            </a:r>
            <a:r>
              <a:rPr lang="de-DE" b="0" i="0" err="1">
                <a:solidFill>
                  <a:srgbClr val="DCDDDE"/>
                </a:solidFill>
                <a:effectLst/>
                <a:latin typeface="Whitney"/>
              </a:rPr>
              <a:t>Squrae</a:t>
            </a:r>
            <a:r>
              <a:rPr lang="de-DE" b="0" i="0">
                <a:solidFill>
                  <a:srgbClr val="DCDDDE"/>
                </a:solidFill>
                <a:effectLst/>
                <a:latin typeface="Whitney"/>
              </a:rPr>
              <a:t> Wert beim Signifikanzintervall von 95% ist darauf zu schließen, dass die Kombination beider Variablen statistisch signifikant ist.</a:t>
            </a:r>
            <a:endParaRPr lang="fr-FR"/>
          </a:p>
          <a:p>
            <a:r>
              <a:rPr lang="fr-FR"/>
              <a:t>	-&gt; </a:t>
            </a:r>
            <a:r>
              <a:rPr lang="de-DE" b="0" i="0" err="1">
                <a:solidFill>
                  <a:srgbClr val="333333"/>
                </a:solidFill>
                <a:effectLst/>
                <a:latin typeface="Consolas" panose="020B0609020204030204" pitchFamily="49" charset="0"/>
              </a:rPr>
              <a:t>descr</a:t>
            </a:r>
            <a:r>
              <a:rPr lang="de-DE" b="0" i="0">
                <a:solidFill>
                  <a:srgbClr val="333333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fr-FR" b="0" i="0">
                <a:solidFill>
                  <a:srgbClr val="33333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fr-FR" b="0" i="0" err="1">
                <a:solidFill>
                  <a:srgbClr val="333333"/>
                </a:solidFill>
                <a:effectLst/>
                <a:latin typeface="Consolas" panose="020B0609020204030204" pitchFamily="49" charset="0"/>
              </a:rPr>
              <a:t>um</a:t>
            </a:r>
            <a:r>
              <a:rPr lang="fr-FR" b="0" i="0">
                <a:solidFill>
                  <a:srgbClr val="33333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fr-FR" b="0" i="0" err="1">
                <a:solidFill>
                  <a:srgbClr val="333333"/>
                </a:solidFill>
                <a:effectLst/>
                <a:latin typeface="Consolas" panose="020B0609020204030204" pitchFamily="49" charset="0"/>
              </a:rPr>
              <a:t>zu</a:t>
            </a:r>
            <a:r>
              <a:rPr lang="fr-FR" b="0" i="0">
                <a:solidFill>
                  <a:srgbClr val="33333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fr-FR" b="0" i="0" err="1">
                <a:solidFill>
                  <a:srgbClr val="333333"/>
                </a:solidFill>
                <a:effectLst/>
                <a:latin typeface="Consolas" panose="020B0609020204030204" pitchFamily="49" charset="0"/>
              </a:rPr>
              <a:t>beschreiben</a:t>
            </a:r>
            <a:r>
              <a:rPr lang="fr-FR" b="0" i="0">
                <a:solidFill>
                  <a:srgbClr val="333333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fr-FR" b="0" i="0" err="1">
                <a:solidFill>
                  <a:srgbClr val="333333"/>
                </a:solidFill>
                <a:effectLst/>
                <a:latin typeface="Consolas" panose="020B0609020204030204" pitchFamily="49" charset="0"/>
              </a:rPr>
              <a:t>titel</a:t>
            </a:r>
            <a:r>
              <a:rPr lang="fr-FR" b="0" i="0">
                <a:solidFill>
                  <a:srgbClr val="333333"/>
                </a:solidFill>
                <a:effectLst/>
                <a:latin typeface="Consolas" panose="020B0609020204030204" pitchFamily="49" charset="0"/>
              </a:rPr>
              <a:t>)</a:t>
            </a:r>
            <a:endParaRPr lang="de-DE"/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7C1657-95E9-4578-B47C-5C94AA87B0C1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656453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7C1657-95E9-4578-B47C-5C94AA87B0C1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0328341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7C1657-95E9-4578-B47C-5C94AA87B0C1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742576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7C1657-95E9-4578-B47C-5C94AA87B0C1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5145450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https://base.imgix.net/files/base/ebm/machinedesign/image/2019/04/machinedesign_16431_promoaskingquestions_917203022_0.png?auto=format&amp;fit=max&amp;w=120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7C1657-95E9-4578-B47C-5C94AA87B0C1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247564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Kreuztabelle</a:t>
            </a:r>
          </a:p>
          <a:p>
            <a:r>
              <a:rPr lang="de-DE"/>
              <a:t>-&gt; gemeinsame Häufigkeiten für </a:t>
            </a:r>
            <a:r>
              <a:rPr lang="de-DE" err="1"/>
              <a:t>katigorielle</a:t>
            </a:r>
            <a:r>
              <a:rPr lang="de-DE"/>
              <a:t> Variablen</a:t>
            </a:r>
          </a:p>
          <a:p>
            <a:endParaRPr lang="de-DE"/>
          </a:p>
          <a:p>
            <a:r>
              <a:rPr lang="de-DE"/>
              <a:t>Code:</a:t>
            </a:r>
          </a:p>
          <a:p>
            <a:r>
              <a:rPr lang="de-DE"/>
              <a:t>	-&gt; Um mehr als eine Zeile </a:t>
            </a:r>
            <a:r>
              <a:rPr lang="de-DE" err="1"/>
              <a:t>beschreibung</a:t>
            </a:r>
            <a:r>
              <a:rPr lang="de-DE"/>
              <a:t> zu schreiben : </a:t>
            </a:r>
            <a:r>
              <a:rPr lang="de-DE" err="1"/>
              <a:t>method</a:t>
            </a:r>
            <a:r>
              <a:rPr lang="de-DE"/>
              <a:t>=„</a:t>
            </a:r>
            <a:r>
              <a:rPr lang="de-DE" err="1"/>
              <a:t>render</a:t>
            </a:r>
            <a:r>
              <a:rPr lang="de-DE"/>
              <a:t>“</a:t>
            </a:r>
          </a:p>
          <a:p>
            <a:r>
              <a:rPr lang="de-DE"/>
              <a:t>	-&gt; </a:t>
            </a:r>
            <a:r>
              <a:rPr lang="de-DE" err="1"/>
              <a:t>Ergebniss</a:t>
            </a:r>
            <a:r>
              <a:rPr lang="de-DE"/>
              <a:t> in der Tabelle zu manipulieren </a:t>
            </a:r>
            <a:r>
              <a:rPr lang="fr-FR" err="1"/>
              <a:t>prop</a:t>
            </a:r>
            <a:r>
              <a:rPr lang="fr-FR"/>
              <a:t> = "</a:t>
            </a:r>
            <a:r>
              <a:rPr lang="fr-FR" err="1"/>
              <a:t>c"prop</a:t>
            </a:r>
            <a:r>
              <a:rPr lang="fr-FR"/>
              <a:t> = "</a:t>
            </a:r>
            <a:r>
              <a:rPr lang="fr-FR" err="1"/>
              <a:t>t"prop</a:t>
            </a:r>
            <a:r>
              <a:rPr lang="fr-FR"/>
              <a:t> = "n« </a:t>
            </a:r>
          </a:p>
          <a:p>
            <a:r>
              <a:rPr lang="fr-FR"/>
              <a:t>	-&gt; mit «n » </a:t>
            </a:r>
            <a:r>
              <a:rPr lang="fr-FR" err="1"/>
              <a:t>wird</a:t>
            </a:r>
            <a:r>
              <a:rPr lang="fr-FR"/>
              <a:t> </a:t>
            </a:r>
            <a:r>
              <a:rPr lang="fr-FR" err="1"/>
              <a:t>eine</a:t>
            </a:r>
            <a:r>
              <a:rPr lang="fr-FR"/>
              <a:t> 2x2 </a:t>
            </a:r>
            <a:r>
              <a:rPr lang="fr-FR" err="1"/>
              <a:t>kreuz</a:t>
            </a:r>
            <a:r>
              <a:rPr lang="fr-FR"/>
              <a:t> tabelle </a:t>
            </a:r>
            <a:r>
              <a:rPr lang="fr-FR" err="1"/>
              <a:t>gebildet</a:t>
            </a:r>
            <a:endParaRPr lang="fr-FR"/>
          </a:p>
          <a:p>
            <a:r>
              <a:rPr lang="fr-FR"/>
              <a:t>	-&gt; </a:t>
            </a:r>
            <a:r>
              <a:rPr lang="fr-FR" err="1"/>
              <a:t>um</a:t>
            </a:r>
            <a:r>
              <a:rPr lang="fr-FR"/>
              <a:t> die x² </a:t>
            </a:r>
            <a:r>
              <a:rPr lang="fr-FR" err="1"/>
              <a:t>methode</a:t>
            </a:r>
            <a:r>
              <a:rPr lang="fr-FR"/>
              <a:t> </a:t>
            </a:r>
            <a:r>
              <a:rPr lang="fr-FR" err="1"/>
              <a:t>auszuführen</a:t>
            </a:r>
            <a:r>
              <a:rPr lang="fr-FR"/>
              <a:t> </a:t>
            </a:r>
            <a:r>
              <a:rPr lang="fr-FR" err="1"/>
              <a:t>muss</a:t>
            </a:r>
            <a:r>
              <a:rPr lang="fr-FR"/>
              <a:t> der code:</a:t>
            </a:r>
            <a:r>
              <a:rPr lang="de-DE" b="0" i="0">
                <a:solidFill>
                  <a:srgbClr val="000000"/>
                </a:solidFill>
                <a:effectLst/>
                <a:latin typeface="Open Sans"/>
              </a:rPr>
              <a:t> </a:t>
            </a:r>
            <a:r>
              <a:rPr lang="de-DE" err="1"/>
              <a:t>chisq</a:t>
            </a:r>
            <a:r>
              <a:rPr lang="de-DE"/>
              <a:t> = TRUE</a:t>
            </a:r>
            <a:r>
              <a:rPr lang="fr-FR"/>
              <a:t> </a:t>
            </a:r>
            <a:r>
              <a:rPr lang="fr-FR" err="1"/>
              <a:t>hizugefügt</a:t>
            </a:r>
            <a:r>
              <a:rPr lang="fr-FR"/>
              <a:t> </a:t>
            </a:r>
            <a:r>
              <a:rPr lang="fr-FR" err="1"/>
              <a:t>werden</a:t>
            </a:r>
            <a:endParaRPr lang="fr-FR"/>
          </a:p>
          <a:p>
            <a:r>
              <a:rPr lang="fr-FR"/>
              <a:t>	-&gt; </a:t>
            </a:r>
            <a:r>
              <a:rPr lang="de-DE" b="0" i="0" err="1">
                <a:solidFill>
                  <a:srgbClr val="333333"/>
                </a:solidFill>
                <a:effectLst/>
                <a:latin typeface="Consolas" panose="020B0609020204030204" pitchFamily="49" charset="0"/>
              </a:rPr>
              <a:t>descr</a:t>
            </a:r>
            <a:r>
              <a:rPr lang="de-DE" b="0" i="0">
                <a:solidFill>
                  <a:srgbClr val="333333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fr-FR" b="0" i="0">
                <a:solidFill>
                  <a:srgbClr val="33333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fr-FR" b="0" i="0" err="1">
                <a:solidFill>
                  <a:srgbClr val="333333"/>
                </a:solidFill>
                <a:effectLst/>
                <a:latin typeface="Consolas" panose="020B0609020204030204" pitchFamily="49" charset="0"/>
              </a:rPr>
              <a:t>um</a:t>
            </a:r>
            <a:r>
              <a:rPr lang="fr-FR" b="0" i="0">
                <a:solidFill>
                  <a:srgbClr val="33333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fr-FR" b="0" i="0" err="1">
                <a:solidFill>
                  <a:srgbClr val="333333"/>
                </a:solidFill>
                <a:effectLst/>
                <a:latin typeface="Consolas" panose="020B0609020204030204" pitchFamily="49" charset="0"/>
              </a:rPr>
              <a:t>zu</a:t>
            </a:r>
            <a:r>
              <a:rPr lang="fr-FR" b="0" i="0">
                <a:solidFill>
                  <a:srgbClr val="33333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fr-FR" b="0" i="0" err="1">
                <a:solidFill>
                  <a:srgbClr val="333333"/>
                </a:solidFill>
                <a:effectLst/>
                <a:latin typeface="Consolas" panose="020B0609020204030204" pitchFamily="49" charset="0"/>
              </a:rPr>
              <a:t>beschreiben</a:t>
            </a:r>
            <a:r>
              <a:rPr lang="fr-FR" b="0" i="0">
                <a:solidFill>
                  <a:srgbClr val="333333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fr-FR" b="0" i="0" err="1">
                <a:solidFill>
                  <a:srgbClr val="333333"/>
                </a:solidFill>
                <a:effectLst/>
                <a:latin typeface="Consolas" panose="020B0609020204030204" pitchFamily="49" charset="0"/>
              </a:rPr>
              <a:t>titel</a:t>
            </a:r>
            <a:r>
              <a:rPr lang="fr-FR" b="0" i="0">
                <a:solidFill>
                  <a:srgbClr val="333333"/>
                </a:solidFill>
                <a:effectLst/>
                <a:latin typeface="Consolas" panose="020B0609020204030204" pitchFamily="49" charset="0"/>
              </a:rPr>
              <a:t>)</a:t>
            </a:r>
            <a:endParaRPr lang="de-DE"/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7C1657-95E9-4578-B47C-5C94AA87B0C1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592899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7C1657-95E9-4578-B47C-5C94AA87B0C1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900270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0" i="0">
                <a:solidFill>
                  <a:srgbClr val="000000"/>
                </a:solidFill>
                <a:effectLst/>
                <a:latin typeface="Open Sans"/>
              </a:rPr>
              <a:t> Tools zum übersichtlichen und schnellen Zusammenfassen von Daten</a:t>
            </a:r>
            <a:endParaRPr lang="de-DE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0" i="0">
                <a:solidFill>
                  <a:srgbClr val="000000"/>
                </a:solidFill>
                <a:effectLst/>
                <a:latin typeface="Open Sans"/>
              </a:rPr>
              <a:t> Schwerpunkt darauf gelegt, </a:t>
            </a:r>
            <a:r>
              <a:rPr lang="de-DE" b="0" i="1">
                <a:solidFill>
                  <a:srgbClr val="000000"/>
                </a:solidFill>
                <a:effectLst/>
                <a:latin typeface="Open Sans"/>
              </a:rPr>
              <a:t>was</a:t>
            </a:r>
            <a:r>
              <a:rPr lang="de-DE" b="0" i="0">
                <a:solidFill>
                  <a:srgbClr val="000000"/>
                </a:solidFill>
                <a:effectLst/>
                <a:latin typeface="Open Sans"/>
              </a:rPr>
              <a:t> und </a:t>
            </a:r>
            <a:r>
              <a:rPr lang="de-DE" b="0" i="1">
                <a:solidFill>
                  <a:srgbClr val="000000"/>
                </a:solidFill>
                <a:effectLst/>
                <a:latin typeface="Open Sans"/>
              </a:rPr>
              <a:t>wie die</a:t>
            </a:r>
            <a:r>
              <a:rPr lang="de-DE" b="0" i="0">
                <a:solidFill>
                  <a:srgbClr val="000000"/>
                </a:solidFill>
                <a:effectLst/>
                <a:latin typeface="Open Sans"/>
              </a:rPr>
              <a:t> Ergebnisse präsentiert werd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0" i="0">
                <a:solidFill>
                  <a:srgbClr val="000000"/>
                </a:solidFill>
                <a:effectLst/>
                <a:latin typeface="Open Sans"/>
              </a:rPr>
              <a:t>Benutzerfreundliche Bedingung</a:t>
            </a:r>
            <a:endParaRPr lang="de-DE"/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7C1657-95E9-4578-B47C-5C94AA87B0C1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839315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-&gt; </a:t>
            </a:r>
            <a:r>
              <a:rPr lang="de-DE" err="1"/>
              <a:t>Opensource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7C1657-95E9-4578-B47C-5C94AA87B0C1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26155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7C1657-95E9-4578-B47C-5C94AA87B0C1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68005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r>
              <a:rPr lang="de-DE" b="1" i="0" err="1">
                <a:solidFill>
                  <a:srgbClr val="000000"/>
                </a:solidFill>
                <a:effectLst/>
                <a:latin typeface="Open Sans"/>
              </a:rPr>
              <a:t>freq</a:t>
            </a:r>
            <a:r>
              <a:rPr lang="de-DE" b="1" i="0">
                <a:solidFill>
                  <a:srgbClr val="000000"/>
                </a:solidFill>
                <a:effectLst/>
                <a:latin typeface="Open Sans"/>
              </a:rPr>
              <a:t> ()</a:t>
            </a:r>
            <a:r>
              <a:rPr lang="de-DE" b="0" i="0">
                <a:solidFill>
                  <a:srgbClr val="000000"/>
                </a:solidFill>
                <a:effectLst/>
                <a:latin typeface="Open Sans"/>
              </a:rPr>
              <a:t> - </a:t>
            </a:r>
            <a:r>
              <a:rPr lang="de-DE" b="1" i="0">
                <a:solidFill>
                  <a:srgbClr val="000000"/>
                </a:solidFill>
                <a:effectLst/>
                <a:latin typeface="Open Sans"/>
              </a:rPr>
              <a:t>Häufigkeitstabellen</a:t>
            </a:r>
            <a:r>
              <a:rPr lang="de-DE" b="0" i="0">
                <a:solidFill>
                  <a:srgbClr val="000000"/>
                </a:solidFill>
                <a:effectLst/>
                <a:latin typeface="Open Sans"/>
              </a:rPr>
              <a:t> mit Proportionen, kumulativen Proportionen und fehlenden </a:t>
            </a:r>
            <a:r>
              <a:rPr lang="de-DE" b="1" i="0">
                <a:solidFill>
                  <a:srgbClr val="000000"/>
                </a:solidFill>
                <a:effectLst/>
                <a:latin typeface="Open Sans"/>
              </a:rPr>
              <a:t>Dateninformationen</a:t>
            </a:r>
            <a:endParaRPr lang="de-DE" b="0" i="0">
              <a:solidFill>
                <a:srgbClr val="000000"/>
              </a:solidFill>
              <a:effectLst/>
              <a:latin typeface="Open Sans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de-DE" b="1" i="0" err="1">
                <a:solidFill>
                  <a:srgbClr val="000000"/>
                </a:solidFill>
                <a:effectLst/>
                <a:latin typeface="Open Sans"/>
              </a:rPr>
              <a:t>CTABle</a:t>
            </a:r>
            <a:r>
              <a:rPr lang="de-DE" b="1" i="0">
                <a:solidFill>
                  <a:srgbClr val="000000"/>
                </a:solidFill>
                <a:effectLst/>
                <a:latin typeface="Open Sans"/>
              </a:rPr>
              <a:t> ()</a:t>
            </a:r>
            <a:r>
              <a:rPr lang="de-DE" b="0" i="0">
                <a:solidFill>
                  <a:srgbClr val="000000"/>
                </a:solidFill>
                <a:effectLst/>
                <a:latin typeface="Open Sans"/>
              </a:rPr>
              <a:t> - </a:t>
            </a:r>
            <a:r>
              <a:rPr lang="de-DE" b="1" i="0" err="1">
                <a:solidFill>
                  <a:srgbClr val="000000"/>
                </a:solidFill>
                <a:effectLst/>
                <a:latin typeface="Open Sans"/>
              </a:rPr>
              <a:t>Kreuztabellierungen</a:t>
            </a:r>
            <a:r>
              <a:rPr lang="de-DE" b="0" i="0">
                <a:solidFill>
                  <a:srgbClr val="000000"/>
                </a:solidFill>
                <a:effectLst/>
                <a:latin typeface="Open Sans"/>
              </a:rPr>
              <a:t> mit Zeilen-, Spalten- oder Gesamtanteilen sowie Randsummen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de-DE" b="1" i="0" err="1">
                <a:solidFill>
                  <a:srgbClr val="000000"/>
                </a:solidFill>
                <a:effectLst/>
                <a:latin typeface="Open Sans"/>
              </a:rPr>
              <a:t>desc</a:t>
            </a:r>
            <a:r>
              <a:rPr lang="de-DE" b="1" i="0">
                <a:solidFill>
                  <a:srgbClr val="000000"/>
                </a:solidFill>
                <a:effectLst/>
                <a:latin typeface="Open Sans"/>
              </a:rPr>
              <a:t> ()</a:t>
            </a:r>
            <a:r>
              <a:rPr lang="de-DE" b="0" i="0">
                <a:solidFill>
                  <a:srgbClr val="000000"/>
                </a:solidFill>
                <a:effectLst/>
                <a:latin typeface="Open Sans"/>
              </a:rPr>
              <a:t> - </a:t>
            </a:r>
            <a:r>
              <a:rPr lang="de-DE" b="1" i="0">
                <a:solidFill>
                  <a:srgbClr val="000000"/>
                </a:solidFill>
                <a:effectLst/>
                <a:latin typeface="Open Sans"/>
              </a:rPr>
              <a:t>Beschreibende (univariate) Statistik</a:t>
            </a:r>
            <a:r>
              <a:rPr lang="de-DE" b="0" i="0">
                <a:solidFill>
                  <a:srgbClr val="000000"/>
                </a:solidFill>
                <a:effectLst/>
                <a:latin typeface="Open Sans"/>
              </a:rPr>
              <a:t> für numerische Vektoren, die gründlicher ist als </a:t>
            </a:r>
            <a:r>
              <a:rPr lang="de-DE" b="0" i="0" err="1">
                <a:solidFill>
                  <a:srgbClr val="000000"/>
                </a:solidFill>
                <a:effectLst/>
                <a:latin typeface="Open Sans"/>
              </a:rPr>
              <a:t>fivenum</a:t>
            </a:r>
            <a:r>
              <a:rPr lang="de-DE" b="0" i="0">
                <a:solidFill>
                  <a:srgbClr val="000000"/>
                </a:solidFill>
                <a:effectLst/>
                <a:latin typeface="Open Sans"/>
              </a:rPr>
              <a:t>()und andere ähnliche Funktionen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de-DE" b="1" i="0" err="1">
                <a:solidFill>
                  <a:srgbClr val="000000"/>
                </a:solidFill>
                <a:effectLst/>
                <a:latin typeface="Open Sans"/>
              </a:rPr>
              <a:t>dfSummary</a:t>
            </a:r>
            <a:r>
              <a:rPr lang="de-DE" b="1" i="0">
                <a:solidFill>
                  <a:srgbClr val="000000"/>
                </a:solidFill>
                <a:effectLst/>
                <a:latin typeface="Open Sans"/>
              </a:rPr>
              <a:t> ()</a:t>
            </a:r>
            <a:r>
              <a:rPr lang="de-DE" b="0" i="0">
                <a:solidFill>
                  <a:srgbClr val="000000"/>
                </a:solidFill>
                <a:effectLst/>
                <a:latin typeface="Open Sans"/>
              </a:rPr>
              <a:t> - </a:t>
            </a:r>
            <a:r>
              <a:rPr lang="de-DE" b="1" i="0">
                <a:solidFill>
                  <a:srgbClr val="000000"/>
                </a:solidFill>
                <a:effectLst/>
                <a:latin typeface="Open Sans"/>
              </a:rPr>
              <a:t>Zusammenfassungen Datenrahmen</a:t>
            </a:r>
            <a:r>
              <a:rPr lang="de-DE" b="0" i="0">
                <a:solidFill>
                  <a:srgbClr val="000000"/>
                </a:solidFill>
                <a:effectLst/>
                <a:latin typeface="Open Sans"/>
              </a:rPr>
              <a:t> , die Daten erleichtern die Reinigung und aus erster Hand Auswertu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43D2D7-4F35-42F2-BD56-11CB094AF259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rsche Next T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rsche Next T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92987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0" i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ie </a:t>
            </a:r>
            <a:r>
              <a:rPr lang="de-DE" err="1"/>
              <a:t>freq</a:t>
            </a:r>
            <a:r>
              <a:rPr lang="de-DE"/>
              <a:t>()</a:t>
            </a:r>
            <a:r>
              <a:rPr lang="de-DE" b="0" i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Funktion generiert Häufigkeitstabellen mit Zählungen, Proportionen sowie fehlenden Dateninformation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="0" i="0">
              <a:solidFill>
                <a:srgbClr val="000000"/>
              </a:solidFill>
              <a:effectLst/>
              <a:latin typeface="Open Sans" panose="020B06060305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="0" i="0">
              <a:solidFill>
                <a:srgbClr val="000000"/>
              </a:solidFill>
              <a:effectLst/>
              <a:latin typeface="Open Sans" panose="020B06060305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="0" i="0">
              <a:solidFill>
                <a:srgbClr val="000000"/>
              </a:solidFill>
              <a:effectLst/>
              <a:latin typeface="Open Sans" panose="020B06060305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="0" i="0">
              <a:solidFill>
                <a:srgbClr val="000000"/>
              </a:solidFill>
              <a:effectLst/>
              <a:latin typeface="Open Sans" panose="020B06060305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="1" i="0">
              <a:solidFill>
                <a:srgbClr val="000000"/>
              </a:solidFill>
              <a:effectLst/>
              <a:latin typeface="Open San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1" i="0">
                <a:solidFill>
                  <a:srgbClr val="000000"/>
                </a:solidFill>
                <a:effectLst/>
                <a:latin typeface="Open Sans"/>
              </a:rPr>
              <a:t>-&gt;</a:t>
            </a:r>
            <a:r>
              <a:rPr lang="de-DE" b="0" i="0">
                <a:solidFill>
                  <a:srgbClr val="000000"/>
                </a:solidFill>
                <a:effectLst/>
                <a:latin typeface="Open Sans"/>
              </a:rPr>
              <a:t>Fehlende Daten ignorieren</a:t>
            </a:r>
          </a:p>
          <a:p>
            <a:r>
              <a:rPr lang="de-DE"/>
              <a:t>-&gt; je mehr daten ausgeschlossen werden desto kleiner wird die Tabelle</a:t>
            </a:r>
          </a:p>
          <a:p>
            <a:r>
              <a:rPr lang="de-DE"/>
              <a:t>-&gt; Filterung:</a:t>
            </a:r>
          </a:p>
          <a:p>
            <a:r>
              <a:rPr lang="de-DE"/>
              <a:t>	-&gt; </a:t>
            </a:r>
            <a:r>
              <a:rPr lang="de-DE" err="1"/>
              <a:t>rows</a:t>
            </a:r>
            <a:r>
              <a:rPr lang="de-DE"/>
              <a:t> 1-10: ersten 10 werte</a:t>
            </a:r>
          </a:p>
          <a:p>
            <a:r>
              <a:rPr lang="de-DE"/>
              <a:t>	-&gt; </a:t>
            </a:r>
            <a:r>
              <a:rPr lang="de-DE" err="1"/>
              <a:t>order</a:t>
            </a:r>
            <a:r>
              <a:rPr lang="de-DE"/>
              <a:t>: die größten anzuzeigen und dahingehend zu sortieren(+/-)</a:t>
            </a:r>
          </a:p>
          <a:p>
            <a:r>
              <a:rPr lang="de-DE"/>
              <a:t>-&gt; </a:t>
            </a:r>
            <a:r>
              <a:rPr lang="de-DE" err="1"/>
              <a:t>collapse</a:t>
            </a:r>
            <a:r>
              <a:rPr lang="de-DE"/>
              <a:t> ums </a:t>
            </a:r>
            <a:r>
              <a:rPr lang="de-DE" err="1"/>
              <a:t>sachen</a:t>
            </a:r>
            <a:r>
              <a:rPr lang="de-DE"/>
              <a:t> einzuklappen</a:t>
            </a:r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7C1657-95E9-4578-B47C-5C94AA87B0C1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97500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1" i="0">
                <a:solidFill>
                  <a:srgbClr val="000000"/>
                </a:solidFill>
                <a:effectLst/>
                <a:latin typeface="Open Sans"/>
              </a:rPr>
              <a:t>-&gt;</a:t>
            </a:r>
            <a:r>
              <a:rPr lang="de-DE" b="0" i="0">
                <a:solidFill>
                  <a:srgbClr val="000000"/>
                </a:solidFill>
                <a:effectLst/>
                <a:latin typeface="Open Sans"/>
              </a:rPr>
              <a:t>Fehlende Daten ignorieren</a:t>
            </a:r>
          </a:p>
          <a:p>
            <a:r>
              <a:rPr lang="de-DE"/>
              <a:t>-&gt; je mehr daten ausgeschlossen werden desto kleiner wird die Tabelle</a:t>
            </a:r>
          </a:p>
          <a:p>
            <a:r>
              <a:rPr lang="de-DE"/>
              <a:t>-&gt; Filterung:</a:t>
            </a:r>
          </a:p>
          <a:p>
            <a:r>
              <a:rPr lang="de-DE"/>
              <a:t>	-&gt; </a:t>
            </a:r>
            <a:r>
              <a:rPr lang="de-DE" err="1"/>
              <a:t>rows</a:t>
            </a:r>
            <a:r>
              <a:rPr lang="de-DE"/>
              <a:t> 1-10: ersten 10 werte</a:t>
            </a:r>
          </a:p>
          <a:p>
            <a:r>
              <a:rPr lang="de-DE"/>
              <a:t>	-&gt; </a:t>
            </a:r>
            <a:r>
              <a:rPr lang="de-DE" err="1"/>
              <a:t>order</a:t>
            </a:r>
            <a:r>
              <a:rPr lang="de-DE"/>
              <a:t>: die größten anzuzeigen und dahingehend zu sortieren(+/-)</a:t>
            </a:r>
          </a:p>
          <a:p>
            <a:r>
              <a:rPr lang="de-DE"/>
              <a:t>-&gt; </a:t>
            </a:r>
            <a:r>
              <a:rPr lang="de-DE" err="1"/>
              <a:t>collapse</a:t>
            </a:r>
            <a:r>
              <a:rPr lang="de-DE"/>
              <a:t> ums </a:t>
            </a:r>
            <a:r>
              <a:rPr lang="de-DE" err="1"/>
              <a:t>sachen</a:t>
            </a:r>
            <a:r>
              <a:rPr lang="de-DE"/>
              <a:t> einzuklappen</a:t>
            </a:r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7C1657-95E9-4578-B47C-5C94AA87B0C1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643190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1" i="0">
                <a:solidFill>
                  <a:srgbClr val="000000"/>
                </a:solidFill>
                <a:effectLst/>
                <a:latin typeface="Open Sans"/>
              </a:rPr>
              <a:t>-&gt;</a:t>
            </a:r>
            <a:r>
              <a:rPr lang="de-DE" b="0" i="0">
                <a:solidFill>
                  <a:srgbClr val="000000"/>
                </a:solidFill>
                <a:effectLst/>
                <a:latin typeface="Open Sans"/>
              </a:rPr>
              <a:t>Fehlende Daten ignorieren</a:t>
            </a:r>
          </a:p>
          <a:p>
            <a:r>
              <a:rPr lang="de-DE"/>
              <a:t>-&gt; je mehr daten ausgeschlossen werden desto kleiner wird die Tabelle</a:t>
            </a:r>
          </a:p>
          <a:p>
            <a:r>
              <a:rPr lang="de-DE"/>
              <a:t>-&gt; Filterung:</a:t>
            </a:r>
          </a:p>
          <a:p>
            <a:r>
              <a:rPr lang="de-DE"/>
              <a:t>	-&gt; </a:t>
            </a:r>
            <a:r>
              <a:rPr lang="de-DE" err="1"/>
              <a:t>rows</a:t>
            </a:r>
            <a:r>
              <a:rPr lang="de-DE"/>
              <a:t> 1-10: ersten 10 werte</a:t>
            </a:r>
          </a:p>
          <a:p>
            <a:r>
              <a:rPr lang="de-DE"/>
              <a:t>	-&gt; </a:t>
            </a:r>
            <a:r>
              <a:rPr lang="de-DE" err="1"/>
              <a:t>order</a:t>
            </a:r>
            <a:r>
              <a:rPr lang="de-DE"/>
              <a:t>: die größten anzuzeigen und dahingehend zu sortieren(+/-)</a:t>
            </a:r>
          </a:p>
          <a:p>
            <a:r>
              <a:rPr lang="de-DE"/>
              <a:t>-&gt; </a:t>
            </a:r>
            <a:r>
              <a:rPr lang="de-DE" err="1"/>
              <a:t>collapse</a:t>
            </a:r>
            <a:r>
              <a:rPr lang="de-DE"/>
              <a:t> ums </a:t>
            </a:r>
            <a:r>
              <a:rPr lang="de-DE" err="1"/>
              <a:t>sachen</a:t>
            </a:r>
            <a:r>
              <a:rPr lang="de-DE"/>
              <a:t> einzuklappen</a:t>
            </a:r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7C1657-95E9-4578-B47C-5C94AA87B0C1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013862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abschnit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588440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>
        <p14:flythrough/>
      </p:transition>
    </mc:Choice>
    <mc:Fallback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3-spaltig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684515A0-3ACC-4DA7-A19D-253E613CEB33}"/>
              </a:ext>
            </a:extLst>
          </p:cNvPr>
          <p:cNvSpPr/>
          <p:nvPr userDrawn="1"/>
        </p:nvSpPr>
        <p:spPr>
          <a:xfrm>
            <a:off x="912286" y="1009650"/>
            <a:ext cx="11279716" cy="48387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81C53425-D1A6-CE46-8218-C0A917931F1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52977" y="1351906"/>
            <a:ext cx="3308320" cy="4160755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239997" indent="-239997">
              <a:spcBef>
                <a:spcPts val="800"/>
              </a:spcBef>
              <a:buFontTx/>
              <a:buBlip>
                <a:blip r:embed="rId2"/>
              </a:buBlip>
              <a:defRPr sz="1438">
                <a:solidFill>
                  <a:schemeClr val="tx1"/>
                </a:solidFill>
              </a:defRPr>
            </a:lvl1pPr>
            <a:lvl2pPr marL="719990" indent="-239997">
              <a:spcBef>
                <a:spcPts val="800"/>
              </a:spcBef>
              <a:defRPr sz="1438">
                <a:solidFill>
                  <a:schemeClr val="tx1"/>
                </a:solidFill>
              </a:defRPr>
            </a:lvl2pPr>
            <a:lvl3pPr marL="1439979" indent="-239997">
              <a:spcBef>
                <a:spcPts val="800"/>
              </a:spcBef>
              <a:buFontTx/>
              <a:buBlip>
                <a:blip r:embed="rId2"/>
              </a:buBlip>
              <a:defRPr sz="1438">
                <a:solidFill>
                  <a:schemeClr val="tx1"/>
                </a:solidFill>
              </a:defRPr>
            </a:lvl3pPr>
            <a:lvl4pPr>
              <a:defRPr sz="1866">
                <a:solidFill>
                  <a:schemeClr val="tx1"/>
                </a:solidFill>
              </a:defRPr>
            </a:lvl4pPr>
            <a:lvl5pPr>
              <a:defRPr sz="1866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26477505-A953-B844-8FB2-CC7BD3DF142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08768" y="1351906"/>
            <a:ext cx="3301996" cy="4160755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239997" indent="-239997">
              <a:spcBef>
                <a:spcPts val="800"/>
              </a:spcBef>
              <a:buFontTx/>
              <a:buBlip>
                <a:blip r:embed="rId2"/>
              </a:buBlip>
              <a:defRPr sz="1438">
                <a:solidFill>
                  <a:schemeClr val="tx1"/>
                </a:solidFill>
              </a:defRPr>
            </a:lvl1pPr>
            <a:lvl2pPr marL="719990" indent="-239997">
              <a:spcBef>
                <a:spcPts val="800"/>
              </a:spcBef>
              <a:defRPr sz="1438">
                <a:solidFill>
                  <a:schemeClr val="tx1"/>
                </a:solidFill>
              </a:defRPr>
            </a:lvl2pPr>
            <a:lvl3pPr marL="1439979" indent="-239997">
              <a:spcBef>
                <a:spcPts val="800"/>
              </a:spcBef>
              <a:buFontTx/>
              <a:buBlip>
                <a:blip r:embed="rId2"/>
              </a:buBlip>
              <a:defRPr sz="1438">
                <a:solidFill>
                  <a:schemeClr val="tx1"/>
                </a:solidFill>
              </a:defRPr>
            </a:lvl3pPr>
            <a:lvl4pPr>
              <a:defRPr sz="1866">
                <a:solidFill>
                  <a:schemeClr val="tx1"/>
                </a:solidFill>
              </a:defRPr>
            </a:lvl4pPr>
            <a:lvl5pPr>
              <a:defRPr sz="1866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37ECD1E9-E7D9-9C40-AEAB-DADAC219A3A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557997" y="1351906"/>
            <a:ext cx="3301996" cy="4160755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239997" indent="-239997">
              <a:spcBef>
                <a:spcPts val="800"/>
              </a:spcBef>
              <a:buFontTx/>
              <a:buBlip>
                <a:blip r:embed="rId2"/>
              </a:buBlip>
              <a:defRPr sz="1438">
                <a:solidFill>
                  <a:schemeClr val="tx1"/>
                </a:solidFill>
              </a:defRPr>
            </a:lvl1pPr>
            <a:lvl2pPr marL="719990" indent="-239997">
              <a:spcBef>
                <a:spcPts val="800"/>
              </a:spcBef>
              <a:defRPr sz="1438">
                <a:solidFill>
                  <a:schemeClr val="tx1"/>
                </a:solidFill>
              </a:defRPr>
            </a:lvl2pPr>
            <a:lvl3pPr marL="1439979" indent="-239997">
              <a:spcBef>
                <a:spcPts val="800"/>
              </a:spcBef>
              <a:buFontTx/>
              <a:buBlip>
                <a:blip r:embed="rId2"/>
              </a:buBlip>
              <a:defRPr sz="1438">
                <a:solidFill>
                  <a:schemeClr val="tx1"/>
                </a:solidFill>
              </a:defRPr>
            </a:lvl3pPr>
            <a:lvl4pPr>
              <a:defRPr sz="1866">
                <a:solidFill>
                  <a:schemeClr val="tx1"/>
                </a:solidFill>
              </a:defRPr>
            </a:lvl4pPr>
            <a:lvl5pPr>
              <a:defRPr sz="1866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1E601254-2DA0-43E9-8C80-21125334B2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26288999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>
        <p14:flythrough/>
      </p:transition>
    </mc:Choice>
    <mc:Fallback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(2/3) &amp; Bild (1/3)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53244A2E-D85A-40DD-98A7-1B8A6E09FC3C}"/>
              </a:ext>
            </a:extLst>
          </p:cNvPr>
          <p:cNvSpPr/>
          <p:nvPr userDrawn="1"/>
        </p:nvSpPr>
        <p:spPr>
          <a:xfrm>
            <a:off x="912286" y="1009650"/>
            <a:ext cx="11279716" cy="48387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7B5A2B65-74F1-44AE-8E33-6265B32D3E0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552058" y="1013461"/>
            <a:ext cx="3639942" cy="483488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53189A53-14DB-9241-B9EB-420EEED5826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52976" y="1351904"/>
            <a:ext cx="6958118" cy="4160756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239997" indent="-239997">
              <a:spcBef>
                <a:spcPts val="800"/>
              </a:spcBef>
              <a:buFontTx/>
              <a:buBlip>
                <a:blip r:embed="rId2"/>
              </a:buBlip>
              <a:defRPr sz="1438">
                <a:solidFill>
                  <a:schemeClr val="tx1"/>
                </a:solidFill>
              </a:defRPr>
            </a:lvl1pPr>
            <a:lvl2pPr marL="719990" indent="-239997">
              <a:spcBef>
                <a:spcPts val="800"/>
              </a:spcBef>
              <a:defRPr sz="1438">
                <a:solidFill>
                  <a:schemeClr val="tx1"/>
                </a:solidFill>
              </a:defRPr>
            </a:lvl2pPr>
            <a:lvl3pPr marL="1439979" indent="-239997">
              <a:spcBef>
                <a:spcPts val="800"/>
              </a:spcBef>
              <a:buFontTx/>
              <a:buBlip>
                <a:blip r:embed="rId2"/>
              </a:buBlip>
              <a:defRPr sz="1438">
                <a:solidFill>
                  <a:schemeClr val="tx1"/>
                </a:solidFill>
              </a:defRPr>
            </a:lvl3pPr>
            <a:lvl4pPr>
              <a:defRPr sz="1866">
                <a:solidFill>
                  <a:schemeClr val="tx1"/>
                </a:solidFill>
              </a:defRPr>
            </a:lvl4pPr>
            <a:lvl5pPr>
              <a:defRPr sz="1866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955FCE44-58E2-4CDF-AACD-0DA32797D8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34110764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>
        <p14:flythrough/>
      </p:transition>
    </mc:Choice>
    <mc:Fallback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Bild &amp; Beschrei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Bildplatzhalter 21">
            <a:extLst>
              <a:ext uri="{FF2B5EF4-FFF2-40B4-BE49-F238E27FC236}">
                <a16:creationId xmlns:a16="http://schemas.microsoft.com/office/drawing/2014/main" id="{9642DB76-9735-470F-ADCC-DDF4E2D6A3F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37086" y="1016000"/>
            <a:ext cx="6757779" cy="2992168"/>
          </a:xfrm>
          <a:custGeom>
            <a:avLst/>
            <a:gdLst>
              <a:gd name="connsiteX0" fmla="*/ 0 w 5063169"/>
              <a:gd name="connsiteY0" fmla="*/ 0 h 2241550"/>
              <a:gd name="connsiteX1" fmla="*/ 5063169 w 5063169"/>
              <a:gd name="connsiteY1" fmla="*/ 0 h 2241550"/>
              <a:gd name="connsiteX2" fmla="*/ 5063169 w 5063169"/>
              <a:gd name="connsiteY2" fmla="*/ 2241550 h 2241550"/>
              <a:gd name="connsiteX3" fmla="*/ 0 w 5063169"/>
              <a:gd name="connsiteY3" fmla="*/ 2241550 h 2241550"/>
              <a:gd name="connsiteX4" fmla="*/ 0 w 5063169"/>
              <a:gd name="connsiteY4" fmla="*/ 0 h 2241550"/>
              <a:gd name="connsiteX0" fmla="*/ 0 w 5063169"/>
              <a:gd name="connsiteY0" fmla="*/ 0 h 2241550"/>
              <a:gd name="connsiteX1" fmla="*/ 5063169 w 5063169"/>
              <a:gd name="connsiteY1" fmla="*/ 0 h 2241550"/>
              <a:gd name="connsiteX2" fmla="*/ 5063169 w 5063169"/>
              <a:gd name="connsiteY2" fmla="*/ 2241550 h 2241550"/>
              <a:gd name="connsiteX3" fmla="*/ 1069298 w 5063169"/>
              <a:gd name="connsiteY3" fmla="*/ 2241550 h 2241550"/>
              <a:gd name="connsiteX4" fmla="*/ 0 w 5063169"/>
              <a:gd name="connsiteY4" fmla="*/ 0 h 2241550"/>
              <a:gd name="connsiteX0" fmla="*/ 0 w 5063169"/>
              <a:gd name="connsiteY0" fmla="*/ 0 h 2241550"/>
              <a:gd name="connsiteX1" fmla="*/ 5063169 w 5063169"/>
              <a:gd name="connsiteY1" fmla="*/ 0 h 2241550"/>
              <a:gd name="connsiteX2" fmla="*/ 5063169 w 5063169"/>
              <a:gd name="connsiteY2" fmla="*/ 2241550 h 2241550"/>
              <a:gd name="connsiteX3" fmla="*/ 1071679 w 5063169"/>
              <a:gd name="connsiteY3" fmla="*/ 2241550 h 2241550"/>
              <a:gd name="connsiteX4" fmla="*/ 0 w 5063169"/>
              <a:gd name="connsiteY4" fmla="*/ 0 h 2241550"/>
              <a:gd name="connsiteX0" fmla="*/ 0 w 5072694"/>
              <a:gd name="connsiteY0" fmla="*/ 0 h 2241550"/>
              <a:gd name="connsiteX1" fmla="*/ 5063169 w 5072694"/>
              <a:gd name="connsiteY1" fmla="*/ 0 h 2241550"/>
              <a:gd name="connsiteX2" fmla="*/ 5072694 w 5072694"/>
              <a:gd name="connsiteY2" fmla="*/ 2241550 h 2241550"/>
              <a:gd name="connsiteX3" fmla="*/ 1071679 w 5072694"/>
              <a:gd name="connsiteY3" fmla="*/ 2241550 h 2241550"/>
              <a:gd name="connsiteX4" fmla="*/ 0 w 5072694"/>
              <a:gd name="connsiteY4" fmla="*/ 0 h 2241550"/>
              <a:gd name="connsiteX0" fmla="*/ 0 w 5072694"/>
              <a:gd name="connsiteY0" fmla="*/ 0 h 2241550"/>
              <a:gd name="connsiteX1" fmla="*/ 5070313 w 5072694"/>
              <a:gd name="connsiteY1" fmla="*/ 0 h 2241550"/>
              <a:gd name="connsiteX2" fmla="*/ 5072694 w 5072694"/>
              <a:gd name="connsiteY2" fmla="*/ 2241550 h 2241550"/>
              <a:gd name="connsiteX3" fmla="*/ 1071679 w 5072694"/>
              <a:gd name="connsiteY3" fmla="*/ 2241550 h 2241550"/>
              <a:gd name="connsiteX4" fmla="*/ 0 w 5072694"/>
              <a:gd name="connsiteY4" fmla="*/ 0 h 2241550"/>
              <a:gd name="connsiteX0" fmla="*/ 0 w 5073097"/>
              <a:gd name="connsiteY0" fmla="*/ 0 h 2241550"/>
              <a:gd name="connsiteX1" fmla="*/ 5072889 w 5073097"/>
              <a:gd name="connsiteY1" fmla="*/ 0 h 2241550"/>
              <a:gd name="connsiteX2" fmla="*/ 5072694 w 5073097"/>
              <a:gd name="connsiteY2" fmla="*/ 2241550 h 2241550"/>
              <a:gd name="connsiteX3" fmla="*/ 1071679 w 5073097"/>
              <a:gd name="connsiteY3" fmla="*/ 2241550 h 2241550"/>
              <a:gd name="connsiteX4" fmla="*/ 0 w 5073097"/>
              <a:gd name="connsiteY4" fmla="*/ 0 h 2241550"/>
              <a:gd name="connsiteX0" fmla="*/ 0 w 5073097"/>
              <a:gd name="connsiteY0" fmla="*/ 0 h 2241550"/>
              <a:gd name="connsiteX1" fmla="*/ 5072889 w 5073097"/>
              <a:gd name="connsiteY1" fmla="*/ 0 h 2241550"/>
              <a:gd name="connsiteX2" fmla="*/ 5072694 w 5073097"/>
              <a:gd name="connsiteY2" fmla="*/ 2241550 h 2241550"/>
              <a:gd name="connsiteX3" fmla="*/ 1074255 w 5073097"/>
              <a:gd name="connsiteY3" fmla="*/ 2241550 h 2241550"/>
              <a:gd name="connsiteX4" fmla="*/ 0 w 5073097"/>
              <a:gd name="connsiteY4" fmla="*/ 0 h 2241550"/>
              <a:gd name="connsiteX0" fmla="*/ 0 w 5073097"/>
              <a:gd name="connsiteY0" fmla="*/ 0 h 2244126"/>
              <a:gd name="connsiteX1" fmla="*/ 5072889 w 5073097"/>
              <a:gd name="connsiteY1" fmla="*/ 0 h 2244126"/>
              <a:gd name="connsiteX2" fmla="*/ 5072694 w 5073097"/>
              <a:gd name="connsiteY2" fmla="*/ 2241550 h 2244126"/>
              <a:gd name="connsiteX3" fmla="*/ 1079406 w 5073097"/>
              <a:gd name="connsiteY3" fmla="*/ 2244126 h 2244126"/>
              <a:gd name="connsiteX4" fmla="*/ 0 w 5073097"/>
              <a:gd name="connsiteY4" fmla="*/ 0 h 2244126"/>
              <a:gd name="connsiteX0" fmla="*/ 0 w 5073097"/>
              <a:gd name="connsiteY0" fmla="*/ 0 h 2244126"/>
              <a:gd name="connsiteX1" fmla="*/ 5072889 w 5073097"/>
              <a:gd name="connsiteY1" fmla="*/ 0 h 2244126"/>
              <a:gd name="connsiteX2" fmla="*/ 5072694 w 5073097"/>
              <a:gd name="connsiteY2" fmla="*/ 2241550 h 2244126"/>
              <a:gd name="connsiteX3" fmla="*/ 1076831 w 5073097"/>
              <a:gd name="connsiteY3" fmla="*/ 2244126 h 2244126"/>
              <a:gd name="connsiteX4" fmla="*/ 0 w 5073097"/>
              <a:gd name="connsiteY4" fmla="*/ 0 h 2244126"/>
              <a:gd name="connsiteX0" fmla="*/ 0 w 5068334"/>
              <a:gd name="connsiteY0" fmla="*/ 0 h 2244126"/>
              <a:gd name="connsiteX1" fmla="*/ 5068126 w 5068334"/>
              <a:gd name="connsiteY1" fmla="*/ 0 h 2244126"/>
              <a:gd name="connsiteX2" fmla="*/ 5067931 w 5068334"/>
              <a:gd name="connsiteY2" fmla="*/ 2241550 h 2244126"/>
              <a:gd name="connsiteX3" fmla="*/ 1072068 w 5068334"/>
              <a:gd name="connsiteY3" fmla="*/ 2244126 h 2244126"/>
              <a:gd name="connsiteX4" fmla="*/ 0 w 5068334"/>
              <a:gd name="connsiteY4" fmla="*/ 0 h 2244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68334" h="2244126">
                <a:moveTo>
                  <a:pt x="0" y="0"/>
                </a:moveTo>
                <a:lnTo>
                  <a:pt x="5068126" y="0"/>
                </a:lnTo>
                <a:cubicBezTo>
                  <a:pt x="5068920" y="747183"/>
                  <a:pt x="5067137" y="1494367"/>
                  <a:pt x="5067931" y="2241550"/>
                </a:cubicBezTo>
                <a:lnTo>
                  <a:pt x="1072068" y="2244126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1" name="Parallelogramm 20">
            <a:extLst>
              <a:ext uri="{FF2B5EF4-FFF2-40B4-BE49-F238E27FC236}">
                <a16:creationId xmlns:a16="http://schemas.microsoft.com/office/drawing/2014/main" id="{D83CB403-1553-478D-B0B0-B83B50C255D1}"/>
              </a:ext>
            </a:extLst>
          </p:cNvPr>
          <p:cNvSpPr/>
          <p:nvPr userDrawn="1"/>
        </p:nvSpPr>
        <p:spPr>
          <a:xfrm flipH="1">
            <a:off x="6863273" y="4001190"/>
            <a:ext cx="5330674" cy="1847155"/>
          </a:xfrm>
          <a:custGeom>
            <a:avLst/>
            <a:gdLst>
              <a:gd name="connsiteX0" fmla="*/ 0 w 3996545"/>
              <a:gd name="connsiteY0" fmla="*/ 1382714 h 1382714"/>
              <a:gd name="connsiteX1" fmla="*/ 660605 w 3996545"/>
              <a:gd name="connsiteY1" fmla="*/ 0 h 1382714"/>
              <a:gd name="connsiteX2" fmla="*/ 3996545 w 3996545"/>
              <a:gd name="connsiteY2" fmla="*/ 0 h 1382714"/>
              <a:gd name="connsiteX3" fmla="*/ 3335940 w 3996545"/>
              <a:gd name="connsiteY3" fmla="*/ 1382714 h 1382714"/>
              <a:gd name="connsiteX4" fmla="*/ 0 w 3996545"/>
              <a:gd name="connsiteY4" fmla="*/ 1382714 h 1382714"/>
              <a:gd name="connsiteX0" fmla="*/ 1460 w 3998005"/>
              <a:gd name="connsiteY0" fmla="*/ 1382714 h 1382714"/>
              <a:gd name="connsiteX1" fmla="*/ 0 w 3998005"/>
              <a:gd name="connsiteY1" fmla="*/ 2499 h 1382714"/>
              <a:gd name="connsiteX2" fmla="*/ 3998005 w 3998005"/>
              <a:gd name="connsiteY2" fmla="*/ 0 h 1382714"/>
              <a:gd name="connsiteX3" fmla="*/ 3337400 w 3998005"/>
              <a:gd name="connsiteY3" fmla="*/ 1382714 h 1382714"/>
              <a:gd name="connsiteX4" fmla="*/ 1460 w 3998005"/>
              <a:gd name="connsiteY4" fmla="*/ 1382714 h 1382714"/>
              <a:gd name="connsiteX0" fmla="*/ 1460 w 3998005"/>
              <a:gd name="connsiteY0" fmla="*/ 1382714 h 1382714"/>
              <a:gd name="connsiteX1" fmla="*/ 0 w 3998005"/>
              <a:gd name="connsiteY1" fmla="*/ 2499 h 1382714"/>
              <a:gd name="connsiteX2" fmla="*/ 3998005 w 3998005"/>
              <a:gd name="connsiteY2" fmla="*/ 0 h 1382714"/>
              <a:gd name="connsiteX3" fmla="*/ 3337400 w 3998005"/>
              <a:gd name="connsiteY3" fmla="*/ 1382714 h 1382714"/>
              <a:gd name="connsiteX4" fmla="*/ 1460 w 3998005"/>
              <a:gd name="connsiteY4" fmla="*/ 1382714 h 1382714"/>
              <a:gd name="connsiteX0" fmla="*/ 1460 w 3998005"/>
              <a:gd name="connsiteY0" fmla="*/ 1382791 h 1382791"/>
              <a:gd name="connsiteX1" fmla="*/ 0 w 3998005"/>
              <a:gd name="connsiteY1" fmla="*/ 0 h 1382791"/>
              <a:gd name="connsiteX2" fmla="*/ 3998005 w 3998005"/>
              <a:gd name="connsiteY2" fmla="*/ 77 h 1382791"/>
              <a:gd name="connsiteX3" fmla="*/ 3337400 w 3998005"/>
              <a:gd name="connsiteY3" fmla="*/ 1382791 h 1382791"/>
              <a:gd name="connsiteX4" fmla="*/ 1460 w 3998005"/>
              <a:gd name="connsiteY4" fmla="*/ 1382791 h 1382791"/>
              <a:gd name="connsiteX0" fmla="*/ 1460 w 3998005"/>
              <a:gd name="connsiteY0" fmla="*/ 1385367 h 1385367"/>
              <a:gd name="connsiteX1" fmla="*/ 0 w 3998005"/>
              <a:gd name="connsiteY1" fmla="*/ 0 h 1385367"/>
              <a:gd name="connsiteX2" fmla="*/ 3998005 w 3998005"/>
              <a:gd name="connsiteY2" fmla="*/ 2653 h 1385367"/>
              <a:gd name="connsiteX3" fmla="*/ 3337400 w 3998005"/>
              <a:gd name="connsiteY3" fmla="*/ 1385367 h 1385367"/>
              <a:gd name="connsiteX4" fmla="*/ 1460 w 3998005"/>
              <a:gd name="connsiteY4" fmla="*/ 1385367 h 1385367"/>
              <a:gd name="connsiteX0" fmla="*/ 1460 w 3998005"/>
              <a:gd name="connsiteY0" fmla="*/ 1382791 h 1382791"/>
              <a:gd name="connsiteX1" fmla="*/ 0 w 3998005"/>
              <a:gd name="connsiteY1" fmla="*/ 0 h 1382791"/>
              <a:gd name="connsiteX2" fmla="*/ 3998005 w 3998005"/>
              <a:gd name="connsiteY2" fmla="*/ 77 h 1382791"/>
              <a:gd name="connsiteX3" fmla="*/ 3337400 w 3998005"/>
              <a:gd name="connsiteY3" fmla="*/ 1382791 h 1382791"/>
              <a:gd name="connsiteX4" fmla="*/ 1460 w 3998005"/>
              <a:gd name="connsiteY4" fmla="*/ 1382791 h 1382791"/>
              <a:gd name="connsiteX0" fmla="*/ 1460 w 3998005"/>
              <a:gd name="connsiteY0" fmla="*/ 1382791 h 1382791"/>
              <a:gd name="connsiteX1" fmla="*/ 0 w 3998005"/>
              <a:gd name="connsiteY1" fmla="*/ 0 h 1382791"/>
              <a:gd name="connsiteX2" fmla="*/ 3998005 w 3998005"/>
              <a:gd name="connsiteY2" fmla="*/ 77 h 1382791"/>
              <a:gd name="connsiteX3" fmla="*/ 3337400 w 3998005"/>
              <a:gd name="connsiteY3" fmla="*/ 1382791 h 1382791"/>
              <a:gd name="connsiteX4" fmla="*/ 1460 w 3998005"/>
              <a:gd name="connsiteY4" fmla="*/ 1382791 h 1382791"/>
              <a:gd name="connsiteX0" fmla="*/ 1460 w 3998005"/>
              <a:gd name="connsiteY0" fmla="*/ 1385366 h 1385366"/>
              <a:gd name="connsiteX1" fmla="*/ 0 w 3998005"/>
              <a:gd name="connsiteY1" fmla="*/ 0 h 1385366"/>
              <a:gd name="connsiteX2" fmla="*/ 3998005 w 3998005"/>
              <a:gd name="connsiteY2" fmla="*/ 2652 h 1385366"/>
              <a:gd name="connsiteX3" fmla="*/ 3337400 w 3998005"/>
              <a:gd name="connsiteY3" fmla="*/ 1385366 h 1385366"/>
              <a:gd name="connsiteX4" fmla="*/ 1460 w 3998005"/>
              <a:gd name="connsiteY4" fmla="*/ 1385366 h 1385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98005" h="1385366">
                <a:moveTo>
                  <a:pt x="1460" y="1385366"/>
                </a:moveTo>
                <a:cubicBezTo>
                  <a:pt x="973" y="925294"/>
                  <a:pt x="487" y="460072"/>
                  <a:pt x="0" y="0"/>
                </a:cubicBezTo>
                <a:lnTo>
                  <a:pt x="3998005" y="2652"/>
                </a:lnTo>
                <a:lnTo>
                  <a:pt x="3337400" y="1385366"/>
                </a:lnTo>
                <a:lnTo>
                  <a:pt x="1460" y="1385366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23" name="Bildplatzhalter 21">
            <a:extLst>
              <a:ext uri="{FF2B5EF4-FFF2-40B4-BE49-F238E27FC236}">
                <a16:creationId xmlns:a16="http://schemas.microsoft.com/office/drawing/2014/main" id="{E2B3A810-C844-4418-AF20-CD01E7DF013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20955" y="1016001"/>
            <a:ext cx="5868174" cy="2988733"/>
          </a:xfrm>
          <a:custGeom>
            <a:avLst/>
            <a:gdLst>
              <a:gd name="connsiteX0" fmla="*/ 0 w 4401131"/>
              <a:gd name="connsiteY0" fmla="*/ 0 h 2241550"/>
              <a:gd name="connsiteX1" fmla="*/ 4401131 w 4401131"/>
              <a:gd name="connsiteY1" fmla="*/ 0 h 2241550"/>
              <a:gd name="connsiteX2" fmla="*/ 4401131 w 4401131"/>
              <a:gd name="connsiteY2" fmla="*/ 2241550 h 2241550"/>
              <a:gd name="connsiteX3" fmla="*/ 0 w 4401131"/>
              <a:gd name="connsiteY3" fmla="*/ 2241550 h 2241550"/>
              <a:gd name="connsiteX4" fmla="*/ 0 w 4401131"/>
              <a:gd name="connsiteY4" fmla="*/ 0 h 2241550"/>
              <a:gd name="connsiteX0" fmla="*/ 0 w 4401131"/>
              <a:gd name="connsiteY0" fmla="*/ 0 h 2241550"/>
              <a:gd name="connsiteX1" fmla="*/ 3334775 w 4401131"/>
              <a:gd name="connsiteY1" fmla="*/ 0 h 2241550"/>
              <a:gd name="connsiteX2" fmla="*/ 4401131 w 4401131"/>
              <a:gd name="connsiteY2" fmla="*/ 2241550 h 2241550"/>
              <a:gd name="connsiteX3" fmla="*/ 0 w 4401131"/>
              <a:gd name="connsiteY3" fmla="*/ 2241550 h 2241550"/>
              <a:gd name="connsiteX4" fmla="*/ 0 w 4401131"/>
              <a:gd name="connsiteY4" fmla="*/ 0 h 2241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01131" h="2241550">
                <a:moveTo>
                  <a:pt x="0" y="0"/>
                </a:moveTo>
                <a:lnTo>
                  <a:pt x="3334775" y="0"/>
                </a:lnTo>
                <a:lnTo>
                  <a:pt x="4401131" y="2241550"/>
                </a:lnTo>
                <a:lnTo>
                  <a:pt x="0" y="224155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0" name="Parallelogramm 19">
            <a:extLst>
              <a:ext uri="{FF2B5EF4-FFF2-40B4-BE49-F238E27FC236}">
                <a16:creationId xmlns:a16="http://schemas.microsoft.com/office/drawing/2014/main" id="{05F37096-C0B7-49A6-9DDE-C38BDC558E57}"/>
              </a:ext>
            </a:extLst>
          </p:cNvPr>
          <p:cNvSpPr/>
          <p:nvPr userDrawn="1"/>
        </p:nvSpPr>
        <p:spPr>
          <a:xfrm flipH="1">
            <a:off x="918634" y="4004733"/>
            <a:ext cx="6753213" cy="1843618"/>
          </a:xfrm>
          <a:custGeom>
            <a:avLst/>
            <a:gdLst>
              <a:gd name="connsiteX0" fmla="*/ 0 w 5069672"/>
              <a:gd name="connsiteY0" fmla="*/ 1382713 h 1382713"/>
              <a:gd name="connsiteX1" fmla="*/ 660605 w 5069672"/>
              <a:gd name="connsiteY1" fmla="*/ 0 h 1382713"/>
              <a:gd name="connsiteX2" fmla="*/ 5069672 w 5069672"/>
              <a:gd name="connsiteY2" fmla="*/ 0 h 1382713"/>
              <a:gd name="connsiteX3" fmla="*/ 4409067 w 5069672"/>
              <a:gd name="connsiteY3" fmla="*/ 1382713 h 1382713"/>
              <a:gd name="connsiteX4" fmla="*/ 0 w 5069672"/>
              <a:gd name="connsiteY4" fmla="*/ 1382713 h 1382713"/>
              <a:gd name="connsiteX0" fmla="*/ 0 w 5069672"/>
              <a:gd name="connsiteY0" fmla="*/ 1382713 h 1382713"/>
              <a:gd name="connsiteX1" fmla="*/ 660605 w 5069672"/>
              <a:gd name="connsiteY1" fmla="*/ 0 h 1382713"/>
              <a:gd name="connsiteX2" fmla="*/ 5069672 w 5069672"/>
              <a:gd name="connsiteY2" fmla="*/ 0 h 1382713"/>
              <a:gd name="connsiteX3" fmla="*/ 5063911 w 5069672"/>
              <a:gd name="connsiteY3" fmla="*/ 1380332 h 1382713"/>
              <a:gd name="connsiteX4" fmla="*/ 0 w 5069672"/>
              <a:gd name="connsiteY4" fmla="*/ 1382713 h 1382713"/>
              <a:gd name="connsiteX0" fmla="*/ 0 w 5064910"/>
              <a:gd name="connsiteY0" fmla="*/ 1382713 h 1382713"/>
              <a:gd name="connsiteX1" fmla="*/ 660605 w 5064910"/>
              <a:gd name="connsiteY1" fmla="*/ 0 h 1382713"/>
              <a:gd name="connsiteX2" fmla="*/ 5064910 w 5064910"/>
              <a:gd name="connsiteY2" fmla="*/ 0 h 1382713"/>
              <a:gd name="connsiteX3" fmla="*/ 5063911 w 5064910"/>
              <a:gd name="connsiteY3" fmla="*/ 1380332 h 1382713"/>
              <a:gd name="connsiteX4" fmla="*/ 0 w 5064910"/>
              <a:gd name="connsiteY4" fmla="*/ 1382713 h 1382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64910" h="1382713">
                <a:moveTo>
                  <a:pt x="0" y="1382713"/>
                </a:moveTo>
                <a:lnTo>
                  <a:pt x="660605" y="0"/>
                </a:lnTo>
                <a:lnTo>
                  <a:pt x="5064910" y="0"/>
                </a:lnTo>
                <a:cubicBezTo>
                  <a:pt x="5062990" y="460111"/>
                  <a:pt x="5065831" y="920221"/>
                  <a:pt x="5063911" y="1380332"/>
                </a:cubicBezTo>
                <a:lnTo>
                  <a:pt x="0" y="1382713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FBCD15C0-0903-4F0D-B02A-624F6D64B5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52053" y="4370717"/>
            <a:ext cx="5474765" cy="2213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3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31" name="Textplatzhalter 26">
            <a:extLst>
              <a:ext uri="{FF2B5EF4-FFF2-40B4-BE49-F238E27FC236}">
                <a16:creationId xmlns:a16="http://schemas.microsoft.com/office/drawing/2014/main" id="{EBB16E9B-0BFA-4147-BF9B-1621103B63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83577" y="4370717"/>
            <a:ext cx="4262888" cy="2213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3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CF1CE939-EDBF-4C40-819A-43D37F2B5C5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252055" y="4681354"/>
            <a:ext cx="5474763" cy="831306"/>
          </a:xfrm>
          <a:prstGeom prst="rect">
            <a:avLst/>
          </a:prstGeom>
        </p:spPr>
        <p:txBody>
          <a:bodyPr lIns="0" tIns="0" rIns="0" bIns="0"/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0" name="Textplatzhalter 35">
            <a:extLst>
              <a:ext uri="{FF2B5EF4-FFF2-40B4-BE49-F238E27FC236}">
                <a16:creationId xmlns:a16="http://schemas.microsoft.com/office/drawing/2014/main" id="{CEBC62FB-9854-48A6-A95F-B64B2E209F8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735637" y="4681354"/>
            <a:ext cx="4119080" cy="2213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5" name="Textplatzhalter 35">
            <a:extLst>
              <a:ext uri="{FF2B5EF4-FFF2-40B4-BE49-F238E27FC236}">
                <a16:creationId xmlns:a16="http://schemas.microsoft.com/office/drawing/2014/main" id="{7F10253B-7E90-4D23-B119-099955D9B99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863387" y="4995408"/>
            <a:ext cx="3989893" cy="2213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7" name="Textplatzhalter 35">
            <a:extLst>
              <a:ext uri="{FF2B5EF4-FFF2-40B4-BE49-F238E27FC236}">
                <a16:creationId xmlns:a16="http://schemas.microsoft.com/office/drawing/2014/main" id="{94C82AD6-A493-4748-9178-9562D5DD6F1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030910" y="5299340"/>
            <a:ext cx="3820485" cy="2213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39" name="Titel 1">
            <a:extLst>
              <a:ext uri="{FF2B5EF4-FFF2-40B4-BE49-F238E27FC236}">
                <a16:creationId xmlns:a16="http://schemas.microsoft.com/office/drawing/2014/main" id="{9A72B995-0D23-455A-8266-D696BCC168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36688737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>
        <p14:flythrough/>
      </p:transition>
    </mc:Choice>
    <mc:Fallback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04">
          <p15:clr>
            <a:srgbClr val="FBAE40"/>
          </p15:clr>
        </p15:guide>
        <p15:guide id="2" orient="horz" pos="2296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x Bild &amp; Beschrei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858280BA-5DAF-4239-8C96-0E00F2969D39}"/>
              </a:ext>
            </a:extLst>
          </p:cNvPr>
          <p:cNvSpPr/>
          <p:nvPr userDrawn="1"/>
        </p:nvSpPr>
        <p:spPr>
          <a:xfrm>
            <a:off x="2734734" y="1009649"/>
            <a:ext cx="3750412" cy="23479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30" name="Bildplatzhalter 4">
            <a:extLst>
              <a:ext uri="{FF2B5EF4-FFF2-40B4-BE49-F238E27FC236}">
                <a16:creationId xmlns:a16="http://schemas.microsoft.com/office/drawing/2014/main" id="{99F4D264-C8B0-41A3-B5A0-613C75EEFF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12286" y="1009648"/>
            <a:ext cx="1822449" cy="234799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7" name="Textplatzhalter 26">
            <a:extLst>
              <a:ext uri="{FF2B5EF4-FFF2-40B4-BE49-F238E27FC236}">
                <a16:creationId xmlns:a16="http://schemas.microsoft.com/office/drawing/2014/main" id="{5320B77E-2B58-4BE6-82A4-68EE8466077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80445" y="1725668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38" name="Textplatzhalter 35">
            <a:extLst>
              <a:ext uri="{FF2B5EF4-FFF2-40B4-BE49-F238E27FC236}">
                <a16:creationId xmlns:a16="http://schemas.microsoft.com/office/drawing/2014/main" id="{CE06CBF7-8546-4EEE-A38E-7DF26CFD932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080443" y="2097885"/>
            <a:ext cx="3028953" cy="6497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C9D460D-EDA8-483E-B4D3-69922B442037}"/>
              </a:ext>
            </a:extLst>
          </p:cNvPr>
          <p:cNvSpPr/>
          <p:nvPr userDrawn="1"/>
        </p:nvSpPr>
        <p:spPr>
          <a:xfrm>
            <a:off x="2734734" y="3500352"/>
            <a:ext cx="3750412" cy="23479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32" name="Bildplatzhalter 4">
            <a:extLst>
              <a:ext uri="{FF2B5EF4-FFF2-40B4-BE49-F238E27FC236}">
                <a16:creationId xmlns:a16="http://schemas.microsoft.com/office/drawing/2014/main" id="{5E8E2BFE-2BB0-4499-BEEE-6270E3B5F24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12286" y="3500352"/>
            <a:ext cx="1822449" cy="234799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3" name="Textplatzhalter 26">
            <a:extLst>
              <a:ext uri="{FF2B5EF4-FFF2-40B4-BE49-F238E27FC236}">
                <a16:creationId xmlns:a16="http://schemas.microsoft.com/office/drawing/2014/main" id="{0B884043-C75F-4A8E-831F-57A0E1E33C9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080445" y="4216372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34" name="Textplatzhalter 35">
            <a:extLst>
              <a:ext uri="{FF2B5EF4-FFF2-40B4-BE49-F238E27FC236}">
                <a16:creationId xmlns:a16="http://schemas.microsoft.com/office/drawing/2014/main" id="{11F960EE-CCBB-4852-9A1B-24F0556CA44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080443" y="4588589"/>
            <a:ext cx="3028953" cy="6497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7924E695-160F-425A-9C69-6AFF9551679F}"/>
              </a:ext>
            </a:extLst>
          </p:cNvPr>
          <p:cNvSpPr/>
          <p:nvPr userDrawn="1"/>
        </p:nvSpPr>
        <p:spPr>
          <a:xfrm>
            <a:off x="8445500" y="1009649"/>
            <a:ext cx="3746500" cy="23479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36" name="Bildplatzhalter 4">
            <a:extLst>
              <a:ext uri="{FF2B5EF4-FFF2-40B4-BE49-F238E27FC236}">
                <a16:creationId xmlns:a16="http://schemas.microsoft.com/office/drawing/2014/main" id="{628C0EC2-2EDB-4946-9BD5-55478645C91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623052" y="1009648"/>
            <a:ext cx="1822449" cy="234799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9" name="Textplatzhalter 26">
            <a:extLst>
              <a:ext uri="{FF2B5EF4-FFF2-40B4-BE49-F238E27FC236}">
                <a16:creationId xmlns:a16="http://schemas.microsoft.com/office/drawing/2014/main" id="{D2F29D40-13C9-41FB-AFFA-85491C009E3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798985" y="1725668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60" name="Textplatzhalter 35">
            <a:extLst>
              <a:ext uri="{FF2B5EF4-FFF2-40B4-BE49-F238E27FC236}">
                <a16:creationId xmlns:a16="http://schemas.microsoft.com/office/drawing/2014/main" id="{E677340F-EF6D-40A1-B272-E825C63153B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98984" y="2097885"/>
            <a:ext cx="3028953" cy="6497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31316428-BBAD-4650-8430-0B440D1391C9}"/>
              </a:ext>
            </a:extLst>
          </p:cNvPr>
          <p:cNvSpPr/>
          <p:nvPr userDrawn="1"/>
        </p:nvSpPr>
        <p:spPr>
          <a:xfrm>
            <a:off x="8445500" y="3500352"/>
            <a:ext cx="3746500" cy="23479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62" name="Bildplatzhalter 4">
            <a:extLst>
              <a:ext uri="{FF2B5EF4-FFF2-40B4-BE49-F238E27FC236}">
                <a16:creationId xmlns:a16="http://schemas.microsoft.com/office/drawing/2014/main" id="{457BB239-3FDE-4AA9-8F78-3A25A953B73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623052" y="3500352"/>
            <a:ext cx="1822449" cy="234799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63" name="Textplatzhalter 26">
            <a:extLst>
              <a:ext uri="{FF2B5EF4-FFF2-40B4-BE49-F238E27FC236}">
                <a16:creationId xmlns:a16="http://schemas.microsoft.com/office/drawing/2014/main" id="{088108A6-84F7-4B20-914D-18C953F46BF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798985" y="4216372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64" name="Textplatzhalter 35">
            <a:extLst>
              <a:ext uri="{FF2B5EF4-FFF2-40B4-BE49-F238E27FC236}">
                <a16:creationId xmlns:a16="http://schemas.microsoft.com/office/drawing/2014/main" id="{C9B1DB20-4664-456E-8599-00A1A0D8E3A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798984" y="4588589"/>
            <a:ext cx="3028953" cy="6497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2" name="Titel 1">
            <a:extLst>
              <a:ext uri="{FF2B5EF4-FFF2-40B4-BE49-F238E27FC236}">
                <a16:creationId xmlns:a16="http://schemas.microsoft.com/office/drawing/2014/main" id="{7AF5B2B1-9CCC-42EB-8F0F-4280F5F011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33913498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>
        <p14:flythrough/>
      </p:transition>
    </mc:Choice>
    <mc:Fallback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408">
          <p15:clr>
            <a:srgbClr val="FBAE40"/>
          </p15:clr>
        </p15:guide>
        <p15:guide id="2" pos="348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x Bild &amp; Beschrei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>
            <a:extLst>
              <a:ext uri="{FF2B5EF4-FFF2-40B4-BE49-F238E27FC236}">
                <a16:creationId xmlns:a16="http://schemas.microsoft.com/office/drawing/2014/main" id="{F4AA879E-CD1B-4468-A60F-22BD5B2EE865}"/>
              </a:ext>
            </a:extLst>
          </p:cNvPr>
          <p:cNvSpPr/>
          <p:nvPr userDrawn="1"/>
        </p:nvSpPr>
        <p:spPr>
          <a:xfrm>
            <a:off x="2734734" y="1009650"/>
            <a:ext cx="3756122" cy="15167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D5265D3A-CBD7-405C-A37D-5E66050AB1EF}"/>
              </a:ext>
            </a:extLst>
          </p:cNvPr>
          <p:cNvSpPr/>
          <p:nvPr userDrawn="1"/>
        </p:nvSpPr>
        <p:spPr>
          <a:xfrm>
            <a:off x="2734734" y="2669425"/>
            <a:ext cx="3756122" cy="15167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E9C4F868-3250-4423-8B9E-5F8B50631071}"/>
              </a:ext>
            </a:extLst>
          </p:cNvPr>
          <p:cNvSpPr/>
          <p:nvPr userDrawn="1"/>
        </p:nvSpPr>
        <p:spPr>
          <a:xfrm>
            <a:off x="2734734" y="4328418"/>
            <a:ext cx="3756122" cy="15167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58CB0365-18B1-40F2-A76D-29F0015D251A}"/>
              </a:ext>
            </a:extLst>
          </p:cNvPr>
          <p:cNvSpPr/>
          <p:nvPr userDrawn="1"/>
        </p:nvSpPr>
        <p:spPr>
          <a:xfrm>
            <a:off x="8435879" y="1009650"/>
            <a:ext cx="3756122" cy="15167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2AE5BEFE-9AF2-450E-8E6E-510CB2A6EE65}"/>
              </a:ext>
            </a:extLst>
          </p:cNvPr>
          <p:cNvSpPr/>
          <p:nvPr userDrawn="1"/>
        </p:nvSpPr>
        <p:spPr>
          <a:xfrm>
            <a:off x="8435879" y="2669425"/>
            <a:ext cx="3756122" cy="15167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2532714C-D0F4-4841-AA96-082F4443C357}"/>
              </a:ext>
            </a:extLst>
          </p:cNvPr>
          <p:cNvSpPr/>
          <p:nvPr userDrawn="1"/>
        </p:nvSpPr>
        <p:spPr>
          <a:xfrm>
            <a:off x="8435879" y="4328418"/>
            <a:ext cx="3756122" cy="15167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30" name="Bildplatzhalter 4">
            <a:extLst>
              <a:ext uri="{FF2B5EF4-FFF2-40B4-BE49-F238E27FC236}">
                <a16:creationId xmlns:a16="http://schemas.microsoft.com/office/drawing/2014/main" id="{99F4D264-C8B0-41A3-B5A0-613C75EEFF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12286" y="1009649"/>
            <a:ext cx="1822449" cy="151679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6" name="Bildplatzhalter 4">
            <a:extLst>
              <a:ext uri="{FF2B5EF4-FFF2-40B4-BE49-F238E27FC236}">
                <a16:creationId xmlns:a16="http://schemas.microsoft.com/office/drawing/2014/main" id="{628C0EC2-2EDB-4946-9BD5-55478645C91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623052" y="1009649"/>
            <a:ext cx="1822449" cy="151679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2" name="Titel 1">
            <a:extLst>
              <a:ext uri="{FF2B5EF4-FFF2-40B4-BE49-F238E27FC236}">
                <a16:creationId xmlns:a16="http://schemas.microsoft.com/office/drawing/2014/main" id="{7AF5B2B1-9CCC-42EB-8F0F-4280F5F011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  <p:sp>
        <p:nvSpPr>
          <p:cNvPr id="47" name="Bildplatzhalter 4">
            <a:extLst>
              <a:ext uri="{FF2B5EF4-FFF2-40B4-BE49-F238E27FC236}">
                <a16:creationId xmlns:a16="http://schemas.microsoft.com/office/drawing/2014/main" id="{07436F7D-C42A-4B42-889D-8F3CFB682236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12286" y="2669425"/>
            <a:ext cx="1822449" cy="151679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8" name="Bildplatzhalter 4">
            <a:extLst>
              <a:ext uri="{FF2B5EF4-FFF2-40B4-BE49-F238E27FC236}">
                <a16:creationId xmlns:a16="http://schemas.microsoft.com/office/drawing/2014/main" id="{28446AB4-B53E-430D-9190-48E2FB34F017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912286" y="4328418"/>
            <a:ext cx="1822449" cy="151679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9" name="Bildplatzhalter 4">
            <a:extLst>
              <a:ext uri="{FF2B5EF4-FFF2-40B4-BE49-F238E27FC236}">
                <a16:creationId xmlns:a16="http://schemas.microsoft.com/office/drawing/2014/main" id="{3B14132C-77AE-4C9D-BAAD-5BB7940DBE45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623052" y="2668643"/>
            <a:ext cx="1822449" cy="151679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0" name="Bildplatzhalter 4">
            <a:extLst>
              <a:ext uri="{FF2B5EF4-FFF2-40B4-BE49-F238E27FC236}">
                <a16:creationId xmlns:a16="http://schemas.microsoft.com/office/drawing/2014/main" id="{34B39398-958C-4AF2-A083-99F4F4C208CD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6623052" y="4328418"/>
            <a:ext cx="1822449" cy="151679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3" name="Textplatzhalter 26">
            <a:extLst>
              <a:ext uri="{FF2B5EF4-FFF2-40B4-BE49-F238E27FC236}">
                <a16:creationId xmlns:a16="http://schemas.microsoft.com/office/drawing/2014/main" id="{94AB9309-EAA5-49B4-B82F-1BD77C727A9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80445" y="1364987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54" name="Textplatzhalter 35">
            <a:extLst>
              <a:ext uri="{FF2B5EF4-FFF2-40B4-BE49-F238E27FC236}">
                <a16:creationId xmlns:a16="http://schemas.microsoft.com/office/drawing/2014/main" id="{DA8DC389-8A12-4DA3-8CAB-A4D198C79B3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080443" y="1737204"/>
            <a:ext cx="3028953" cy="6497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7" name="Textplatzhalter 26">
            <a:extLst>
              <a:ext uri="{FF2B5EF4-FFF2-40B4-BE49-F238E27FC236}">
                <a16:creationId xmlns:a16="http://schemas.microsoft.com/office/drawing/2014/main" id="{816796D7-B715-4770-975E-8A696C5B7B5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080445" y="3024762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58" name="Textplatzhalter 35">
            <a:extLst>
              <a:ext uri="{FF2B5EF4-FFF2-40B4-BE49-F238E27FC236}">
                <a16:creationId xmlns:a16="http://schemas.microsoft.com/office/drawing/2014/main" id="{B7979116-26BA-485F-84A0-65C2388FA62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080443" y="3396978"/>
            <a:ext cx="3028953" cy="6497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7" name="Textplatzhalter 26">
            <a:extLst>
              <a:ext uri="{FF2B5EF4-FFF2-40B4-BE49-F238E27FC236}">
                <a16:creationId xmlns:a16="http://schemas.microsoft.com/office/drawing/2014/main" id="{C21D983A-0D4C-4D00-B111-735954A2961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080445" y="4683756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68" name="Textplatzhalter 35">
            <a:extLst>
              <a:ext uri="{FF2B5EF4-FFF2-40B4-BE49-F238E27FC236}">
                <a16:creationId xmlns:a16="http://schemas.microsoft.com/office/drawing/2014/main" id="{02B9B515-5674-4464-BA68-1229D9DDF19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080443" y="5055972"/>
            <a:ext cx="3028953" cy="6497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75" name="Textplatzhalter 26">
            <a:extLst>
              <a:ext uri="{FF2B5EF4-FFF2-40B4-BE49-F238E27FC236}">
                <a16:creationId xmlns:a16="http://schemas.microsoft.com/office/drawing/2014/main" id="{5830621B-BA92-4785-A83E-285D5C38D1C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776861" y="1364987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76" name="Textplatzhalter 35">
            <a:extLst>
              <a:ext uri="{FF2B5EF4-FFF2-40B4-BE49-F238E27FC236}">
                <a16:creationId xmlns:a16="http://schemas.microsoft.com/office/drawing/2014/main" id="{598166D4-495B-4114-91E9-3343EF5B392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776858" y="1737204"/>
            <a:ext cx="3028953" cy="6497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77" name="Textplatzhalter 26">
            <a:extLst>
              <a:ext uri="{FF2B5EF4-FFF2-40B4-BE49-F238E27FC236}">
                <a16:creationId xmlns:a16="http://schemas.microsoft.com/office/drawing/2014/main" id="{F428F419-263B-4872-892E-D6ECAF867C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776861" y="3024762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78" name="Textplatzhalter 35">
            <a:extLst>
              <a:ext uri="{FF2B5EF4-FFF2-40B4-BE49-F238E27FC236}">
                <a16:creationId xmlns:a16="http://schemas.microsoft.com/office/drawing/2014/main" id="{C081683D-5F61-4838-9654-F36D7330853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776858" y="3396978"/>
            <a:ext cx="3028953" cy="6497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79" name="Textplatzhalter 26">
            <a:extLst>
              <a:ext uri="{FF2B5EF4-FFF2-40B4-BE49-F238E27FC236}">
                <a16:creationId xmlns:a16="http://schemas.microsoft.com/office/drawing/2014/main" id="{C83575E6-3737-4178-8E0F-8084568DA77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776861" y="4683756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80" name="Textplatzhalter 35">
            <a:extLst>
              <a:ext uri="{FF2B5EF4-FFF2-40B4-BE49-F238E27FC236}">
                <a16:creationId xmlns:a16="http://schemas.microsoft.com/office/drawing/2014/main" id="{0AC2C41F-DE75-49A7-8D8E-14310ECE758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776858" y="5055972"/>
            <a:ext cx="3028953" cy="6497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6124920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>
        <p14:flythrough/>
      </p:transition>
    </mc:Choice>
    <mc:Fallback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408">
          <p15:clr>
            <a:srgbClr val="FBAE40"/>
          </p15:clr>
        </p15:guide>
        <p15:guide id="2" pos="348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x Bild &amp; Beschrei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>
            <a:extLst>
              <a:ext uri="{FF2B5EF4-FFF2-40B4-BE49-F238E27FC236}">
                <a16:creationId xmlns:a16="http://schemas.microsoft.com/office/drawing/2014/main" id="{26E64995-10B5-442B-80F9-C43858D8CBD7}"/>
              </a:ext>
            </a:extLst>
          </p:cNvPr>
          <p:cNvSpPr/>
          <p:nvPr userDrawn="1"/>
        </p:nvSpPr>
        <p:spPr>
          <a:xfrm>
            <a:off x="2734734" y="1009651"/>
            <a:ext cx="3750412" cy="110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ABAA7624-496F-4F89-817D-8AF0714308FC}"/>
              </a:ext>
            </a:extLst>
          </p:cNvPr>
          <p:cNvSpPr/>
          <p:nvPr userDrawn="1"/>
        </p:nvSpPr>
        <p:spPr>
          <a:xfrm>
            <a:off x="2734734" y="2253648"/>
            <a:ext cx="3750412" cy="110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258E32BA-BE0C-4488-B8EB-732F6128967B}"/>
              </a:ext>
            </a:extLst>
          </p:cNvPr>
          <p:cNvSpPr/>
          <p:nvPr userDrawn="1"/>
        </p:nvSpPr>
        <p:spPr>
          <a:xfrm>
            <a:off x="2734734" y="3494831"/>
            <a:ext cx="3750412" cy="110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ED833DA5-F35F-4F65-BED5-F05C52F2BC6F}"/>
              </a:ext>
            </a:extLst>
          </p:cNvPr>
          <p:cNvSpPr/>
          <p:nvPr userDrawn="1"/>
        </p:nvSpPr>
        <p:spPr>
          <a:xfrm>
            <a:off x="2734734" y="4744349"/>
            <a:ext cx="3750412" cy="110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B9FCAF0B-1160-4607-A5DB-B6DA4D3B6132}"/>
              </a:ext>
            </a:extLst>
          </p:cNvPr>
          <p:cNvSpPr/>
          <p:nvPr userDrawn="1"/>
        </p:nvSpPr>
        <p:spPr>
          <a:xfrm>
            <a:off x="8445500" y="1009651"/>
            <a:ext cx="3750412" cy="110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64AA3BDD-7D99-47C9-8C58-0BEE4016B552}"/>
              </a:ext>
            </a:extLst>
          </p:cNvPr>
          <p:cNvSpPr/>
          <p:nvPr userDrawn="1"/>
        </p:nvSpPr>
        <p:spPr>
          <a:xfrm>
            <a:off x="8445500" y="2253648"/>
            <a:ext cx="3750412" cy="110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6FDE5A96-3738-4FFA-9E5A-CFEFD87EAD10}"/>
              </a:ext>
            </a:extLst>
          </p:cNvPr>
          <p:cNvSpPr/>
          <p:nvPr userDrawn="1"/>
        </p:nvSpPr>
        <p:spPr>
          <a:xfrm>
            <a:off x="8445500" y="3494831"/>
            <a:ext cx="3750412" cy="110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BD7D16A5-7872-425B-BB1F-C614C018A3DC}"/>
              </a:ext>
            </a:extLst>
          </p:cNvPr>
          <p:cNvSpPr/>
          <p:nvPr userDrawn="1"/>
        </p:nvSpPr>
        <p:spPr>
          <a:xfrm>
            <a:off x="8445500" y="4744349"/>
            <a:ext cx="3750412" cy="110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30" name="Bildplatzhalter 4">
            <a:extLst>
              <a:ext uri="{FF2B5EF4-FFF2-40B4-BE49-F238E27FC236}">
                <a16:creationId xmlns:a16="http://schemas.microsoft.com/office/drawing/2014/main" id="{99F4D264-C8B0-41A3-B5A0-613C75EEFF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12286" y="1009649"/>
            <a:ext cx="1822449" cy="109848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2" name="Titel 1">
            <a:extLst>
              <a:ext uri="{FF2B5EF4-FFF2-40B4-BE49-F238E27FC236}">
                <a16:creationId xmlns:a16="http://schemas.microsoft.com/office/drawing/2014/main" id="{7AF5B2B1-9CCC-42EB-8F0F-4280F5F011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  <p:sp>
        <p:nvSpPr>
          <p:cNvPr id="73" name="Bildplatzhalter 4">
            <a:extLst>
              <a:ext uri="{FF2B5EF4-FFF2-40B4-BE49-F238E27FC236}">
                <a16:creationId xmlns:a16="http://schemas.microsoft.com/office/drawing/2014/main" id="{6A119193-1F71-4BEC-B026-63FF8344E9F5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912286" y="2259167"/>
            <a:ext cx="1822449" cy="109848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4" name="Bildplatzhalter 4">
            <a:extLst>
              <a:ext uri="{FF2B5EF4-FFF2-40B4-BE49-F238E27FC236}">
                <a16:creationId xmlns:a16="http://schemas.microsoft.com/office/drawing/2014/main" id="{22F3C23B-A1A0-44C1-8B1A-16C96C4FEE04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12286" y="3500350"/>
            <a:ext cx="1822449" cy="109848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81" name="Bildplatzhalter 4">
            <a:extLst>
              <a:ext uri="{FF2B5EF4-FFF2-40B4-BE49-F238E27FC236}">
                <a16:creationId xmlns:a16="http://schemas.microsoft.com/office/drawing/2014/main" id="{31D9F732-278E-4335-A997-3A9B0B4FBB53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912286" y="4749868"/>
            <a:ext cx="1822449" cy="109848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82" name="Bildplatzhalter 4">
            <a:extLst>
              <a:ext uri="{FF2B5EF4-FFF2-40B4-BE49-F238E27FC236}">
                <a16:creationId xmlns:a16="http://schemas.microsoft.com/office/drawing/2014/main" id="{F5834584-CCAA-4ACA-AC78-114105588421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6623052" y="1009649"/>
            <a:ext cx="1822449" cy="109848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83" name="Bildplatzhalter 4">
            <a:extLst>
              <a:ext uri="{FF2B5EF4-FFF2-40B4-BE49-F238E27FC236}">
                <a16:creationId xmlns:a16="http://schemas.microsoft.com/office/drawing/2014/main" id="{2935FB01-471E-4B44-8FD1-C9C8C6AEEDCB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6623052" y="2256408"/>
            <a:ext cx="1822449" cy="109848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84" name="Bildplatzhalter 4">
            <a:extLst>
              <a:ext uri="{FF2B5EF4-FFF2-40B4-BE49-F238E27FC236}">
                <a16:creationId xmlns:a16="http://schemas.microsoft.com/office/drawing/2014/main" id="{819355A9-47BE-45EF-90CD-ADBB16456C5B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6623052" y="3497590"/>
            <a:ext cx="1822449" cy="109848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85" name="Bildplatzhalter 4">
            <a:extLst>
              <a:ext uri="{FF2B5EF4-FFF2-40B4-BE49-F238E27FC236}">
                <a16:creationId xmlns:a16="http://schemas.microsoft.com/office/drawing/2014/main" id="{5F5BA631-97BF-4FA7-8C3E-A3D9218C7CA5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6623052" y="4744349"/>
            <a:ext cx="1822449" cy="109848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88" name="Textplatzhalter 26">
            <a:extLst>
              <a:ext uri="{FF2B5EF4-FFF2-40B4-BE49-F238E27FC236}">
                <a16:creationId xmlns:a16="http://schemas.microsoft.com/office/drawing/2014/main" id="{CD59616B-333E-48E7-AC05-F0B13D3AE12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80445" y="1141304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89" name="Textplatzhalter 35">
            <a:extLst>
              <a:ext uri="{FF2B5EF4-FFF2-40B4-BE49-F238E27FC236}">
                <a16:creationId xmlns:a16="http://schemas.microsoft.com/office/drawing/2014/main" id="{73C5EE01-AC79-4E21-BED3-9F2F5EE9799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080443" y="1513521"/>
            <a:ext cx="3028953" cy="4670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2" name="Textplatzhalter 26">
            <a:extLst>
              <a:ext uri="{FF2B5EF4-FFF2-40B4-BE49-F238E27FC236}">
                <a16:creationId xmlns:a16="http://schemas.microsoft.com/office/drawing/2014/main" id="{CC9232A2-FEFA-44D6-AEA8-80D4370C4935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3080445" y="2391387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93" name="Textplatzhalter 35">
            <a:extLst>
              <a:ext uri="{FF2B5EF4-FFF2-40B4-BE49-F238E27FC236}">
                <a16:creationId xmlns:a16="http://schemas.microsoft.com/office/drawing/2014/main" id="{828DF350-00BC-4951-B663-EE72A944278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3080443" y="2763604"/>
            <a:ext cx="3028953" cy="4670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9" name="Textplatzhalter 26">
            <a:extLst>
              <a:ext uri="{FF2B5EF4-FFF2-40B4-BE49-F238E27FC236}">
                <a16:creationId xmlns:a16="http://schemas.microsoft.com/office/drawing/2014/main" id="{41FC561B-1E90-4793-8A60-04861C3893F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080445" y="3629900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100" name="Textplatzhalter 35">
            <a:extLst>
              <a:ext uri="{FF2B5EF4-FFF2-40B4-BE49-F238E27FC236}">
                <a16:creationId xmlns:a16="http://schemas.microsoft.com/office/drawing/2014/main" id="{A825FB20-9F0A-4585-BAAB-AEA01864419C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080443" y="4002117"/>
            <a:ext cx="3028953" cy="4670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03" name="Textplatzhalter 26">
            <a:extLst>
              <a:ext uri="{FF2B5EF4-FFF2-40B4-BE49-F238E27FC236}">
                <a16:creationId xmlns:a16="http://schemas.microsoft.com/office/drawing/2014/main" id="{E5A26FED-5593-4616-B08B-7AA16B1654B7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080445" y="4876382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104" name="Textplatzhalter 35">
            <a:extLst>
              <a:ext uri="{FF2B5EF4-FFF2-40B4-BE49-F238E27FC236}">
                <a16:creationId xmlns:a16="http://schemas.microsoft.com/office/drawing/2014/main" id="{BBD7BA9E-7FB4-42E3-8E46-4355C274D845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080443" y="5248599"/>
            <a:ext cx="3028953" cy="4670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3" name="Textplatzhalter 26">
            <a:extLst>
              <a:ext uri="{FF2B5EF4-FFF2-40B4-BE49-F238E27FC236}">
                <a16:creationId xmlns:a16="http://schemas.microsoft.com/office/drawing/2014/main" id="{C4F7318B-4A5B-4D28-8D24-2A397F7226C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791211" y="1141304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114" name="Textplatzhalter 35">
            <a:extLst>
              <a:ext uri="{FF2B5EF4-FFF2-40B4-BE49-F238E27FC236}">
                <a16:creationId xmlns:a16="http://schemas.microsoft.com/office/drawing/2014/main" id="{ED6A3286-BBAA-49CF-A071-7BBC921B69BA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791209" y="1513521"/>
            <a:ext cx="3028953" cy="4670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5" name="Textplatzhalter 26">
            <a:extLst>
              <a:ext uri="{FF2B5EF4-FFF2-40B4-BE49-F238E27FC236}">
                <a16:creationId xmlns:a16="http://schemas.microsoft.com/office/drawing/2014/main" id="{93A1C177-A3A7-4E73-82B2-FBF3769C37E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8791211" y="2391387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116" name="Textplatzhalter 35">
            <a:extLst>
              <a:ext uri="{FF2B5EF4-FFF2-40B4-BE49-F238E27FC236}">
                <a16:creationId xmlns:a16="http://schemas.microsoft.com/office/drawing/2014/main" id="{3D6E6D89-B105-45BA-A727-DC6E3AD9D3D1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8791209" y="2763604"/>
            <a:ext cx="3028953" cy="4670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7" name="Textplatzhalter 26">
            <a:extLst>
              <a:ext uri="{FF2B5EF4-FFF2-40B4-BE49-F238E27FC236}">
                <a16:creationId xmlns:a16="http://schemas.microsoft.com/office/drawing/2014/main" id="{98A16870-2F6E-4901-8F72-6C9038A1AAA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791211" y="3629900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118" name="Textplatzhalter 35">
            <a:extLst>
              <a:ext uri="{FF2B5EF4-FFF2-40B4-BE49-F238E27FC236}">
                <a16:creationId xmlns:a16="http://schemas.microsoft.com/office/drawing/2014/main" id="{84309BD9-C1CA-45A0-B75B-1559199CDA3D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8791209" y="4002117"/>
            <a:ext cx="3028953" cy="4670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9" name="Textplatzhalter 26">
            <a:extLst>
              <a:ext uri="{FF2B5EF4-FFF2-40B4-BE49-F238E27FC236}">
                <a16:creationId xmlns:a16="http://schemas.microsoft.com/office/drawing/2014/main" id="{5B3A3F24-EFFA-4025-A18F-EAB8C2F5720D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791211" y="4876382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120" name="Textplatzhalter 35">
            <a:extLst>
              <a:ext uri="{FF2B5EF4-FFF2-40B4-BE49-F238E27FC236}">
                <a16:creationId xmlns:a16="http://schemas.microsoft.com/office/drawing/2014/main" id="{AD1A3435-A68F-46F8-BE9E-3F5774E56D52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791209" y="5248599"/>
            <a:ext cx="3028953" cy="4670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478055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>
        <p14:flythrough/>
      </p:transition>
    </mc:Choice>
    <mc:Fallback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408">
          <p15:clr>
            <a:srgbClr val="FBAE40"/>
          </p15:clr>
        </p15:guide>
        <p15:guide id="2" pos="348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6 x Bild &amp; Überschrift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848B1AE4-3FBC-4B4C-BFB5-C32DF070AE47}"/>
              </a:ext>
            </a:extLst>
          </p:cNvPr>
          <p:cNvSpPr/>
          <p:nvPr userDrawn="1"/>
        </p:nvSpPr>
        <p:spPr>
          <a:xfrm>
            <a:off x="912286" y="1009650"/>
            <a:ext cx="11279716" cy="48387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18" name="Bildplatzhalter 8">
            <a:extLst>
              <a:ext uri="{FF2B5EF4-FFF2-40B4-BE49-F238E27FC236}">
                <a16:creationId xmlns:a16="http://schemas.microsoft.com/office/drawing/2014/main" id="{29194AB9-E749-4A87-8E15-1D9DEC356B3B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19239" y="1663939"/>
            <a:ext cx="3633711" cy="176506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7" name="Bildplatzhalter 8">
            <a:extLst>
              <a:ext uri="{FF2B5EF4-FFF2-40B4-BE49-F238E27FC236}">
                <a16:creationId xmlns:a16="http://schemas.microsoft.com/office/drawing/2014/main" id="{50B56F4E-0BFA-4920-B730-DA8980EEF5EB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738678" y="1663939"/>
            <a:ext cx="3626929" cy="176506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8" name="Bildplatzhalter 8">
            <a:extLst>
              <a:ext uri="{FF2B5EF4-FFF2-40B4-BE49-F238E27FC236}">
                <a16:creationId xmlns:a16="http://schemas.microsoft.com/office/drawing/2014/main" id="{59197E5E-CAA6-4798-9991-C64041E0A74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565073" y="1663939"/>
            <a:ext cx="3626929" cy="176506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3" name="Bildplatzhalter 8">
            <a:extLst>
              <a:ext uri="{FF2B5EF4-FFF2-40B4-BE49-F238E27FC236}">
                <a16:creationId xmlns:a16="http://schemas.microsoft.com/office/drawing/2014/main" id="{B41E54FF-4CEB-4DE2-A6DD-74E413EA4218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919239" y="4084775"/>
            <a:ext cx="3633711" cy="176506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4" name="Bildplatzhalter 8">
            <a:extLst>
              <a:ext uri="{FF2B5EF4-FFF2-40B4-BE49-F238E27FC236}">
                <a16:creationId xmlns:a16="http://schemas.microsoft.com/office/drawing/2014/main" id="{5DB70E1B-DF22-40D3-9FE7-5F80AA5A7E55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4738678" y="4084775"/>
            <a:ext cx="3626929" cy="176506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5" name="Bildplatzhalter 8">
            <a:extLst>
              <a:ext uri="{FF2B5EF4-FFF2-40B4-BE49-F238E27FC236}">
                <a16:creationId xmlns:a16="http://schemas.microsoft.com/office/drawing/2014/main" id="{E6AB621D-02D8-4D1E-9980-2FFD82E9C58B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8565073" y="4084775"/>
            <a:ext cx="3626929" cy="176506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7" name="Textplatzhalter 26">
            <a:extLst>
              <a:ext uri="{FF2B5EF4-FFF2-40B4-BE49-F238E27FC236}">
                <a16:creationId xmlns:a16="http://schemas.microsoft.com/office/drawing/2014/main" id="{F69311EB-7498-9F4A-A1AF-DF3EB7A1D25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46412" y="1296859"/>
            <a:ext cx="3249403" cy="33203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19" name="Textplatzhalter 26">
            <a:extLst>
              <a:ext uri="{FF2B5EF4-FFF2-40B4-BE49-F238E27FC236}">
                <a16:creationId xmlns:a16="http://schemas.microsoft.com/office/drawing/2014/main" id="{FF4458D5-2A78-6D49-8C01-12B2B56485D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035143" y="1296859"/>
            <a:ext cx="3273327" cy="33203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20" name="Textplatzhalter 26">
            <a:extLst>
              <a:ext uri="{FF2B5EF4-FFF2-40B4-BE49-F238E27FC236}">
                <a16:creationId xmlns:a16="http://schemas.microsoft.com/office/drawing/2014/main" id="{217875A8-9090-4A48-95C7-D300A77D29D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868169" y="1296859"/>
            <a:ext cx="3266696" cy="33203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21" name="Textplatzhalter 26">
            <a:extLst>
              <a:ext uri="{FF2B5EF4-FFF2-40B4-BE49-F238E27FC236}">
                <a16:creationId xmlns:a16="http://schemas.microsoft.com/office/drawing/2014/main" id="{9E0DC7F7-3BB3-714B-BD16-48D1A363293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246412" y="3717694"/>
            <a:ext cx="3249403" cy="33203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22" name="Textplatzhalter 26">
            <a:extLst>
              <a:ext uri="{FF2B5EF4-FFF2-40B4-BE49-F238E27FC236}">
                <a16:creationId xmlns:a16="http://schemas.microsoft.com/office/drawing/2014/main" id="{5D1E6107-5BDC-2743-83DB-154C9F68569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035143" y="3717694"/>
            <a:ext cx="3273327" cy="33203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23" name="Textplatzhalter 26">
            <a:extLst>
              <a:ext uri="{FF2B5EF4-FFF2-40B4-BE49-F238E27FC236}">
                <a16:creationId xmlns:a16="http://schemas.microsoft.com/office/drawing/2014/main" id="{E99A4454-3C05-C447-AA4A-6D7DFF1DD0C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68169" y="3717694"/>
            <a:ext cx="3266696" cy="33203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80B690A9-D725-4A5B-AFF5-04E4252F4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41205018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>
        <p14:flythrough/>
      </p:transition>
    </mc:Choice>
    <mc:Fallback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kt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>
            <a:extLst>
              <a:ext uri="{FF2B5EF4-FFF2-40B4-BE49-F238E27FC236}">
                <a16:creationId xmlns:a16="http://schemas.microsoft.com/office/drawing/2014/main" id="{9461113B-5D3E-4747-862A-23B000800850}"/>
              </a:ext>
            </a:extLst>
          </p:cNvPr>
          <p:cNvSpPr/>
          <p:nvPr userDrawn="1"/>
        </p:nvSpPr>
        <p:spPr>
          <a:xfrm>
            <a:off x="912286" y="1009650"/>
            <a:ext cx="11279716" cy="48387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30" name="Bildplatzhalter 4">
            <a:extLst>
              <a:ext uri="{FF2B5EF4-FFF2-40B4-BE49-F238E27FC236}">
                <a16:creationId xmlns:a16="http://schemas.microsoft.com/office/drawing/2014/main" id="{99F4D264-C8B0-41A3-B5A0-613C75EEFF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12286" y="1009648"/>
            <a:ext cx="1822449" cy="234799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2" name="Bildplatzhalter 4">
            <a:extLst>
              <a:ext uri="{FF2B5EF4-FFF2-40B4-BE49-F238E27FC236}">
                <a16:creationId xmlns:a16="http://schemas.microsoft.com/office/drawing/2014/main" id="{5E8E2BFE-2BB0-4499-BEEE-6270E3B5F24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12286" y="3500352"/>
            <a:ext cx="1822449" cy="234799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6" name="Bildplatzhalter 4">
            <a:extLst>
              <a:ext uri="{FF2B5EF4-FFF2-40B4-BE49-F238E27FC236}">
                <a16:creationId xmlns:a16="http://schemas.microsoft.com/office/drawing/2014/main" id="{628C0EC2-2EDB-4946-9BD5-55478645C91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623052" y="1009648"/>
            <a:ext cx="1822449" cy="234799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62" name="Bildplatzhalter 4">
            <a:extLst>
              <a:ext uri="{FF2B5EF4-FFF2-40B4-BE49-F238E27FC236}">
                <a16:creationId xmlns:a16="http://schemas.microsoft.com/office/drawing/2014/main" id="{457BB239-3FDE-4AA9-8F78-3A25A953B73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623052" y="3500352"/>
            <a:ext cx="1822449" cy="234799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2" name="Titel 1">
            <a:extLst>
              <a:ext uri="{FF2B5EF4-FFF2-40B4-BE49-F238E27FC236}">
                <a16:creationId xmlns:a16="http://schemas.microsoft.com/office/drawing/2014/main" id="{7AF5B2B1-9CCC-42EB-8F0F-4280F5F011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23624080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>
        <p14:flythrough/>
      </p:transition>
    </mc:Choice>
    <mc:Fallback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408">
          <p15:clr>
            <a:srgbClr val="FBAE40"/>
          </p15:clr>
        </p15:guide>
        <p15:guide id="2" pos="348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eckbrie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>
            <a:extLst>
              <a:ext uri="{FF2B5EF4-FFF2-40B4-BE49-F238E27FC236}">
                <a16:creationId xmlns:a16="http://schemas.microsoft.com/office/drawing/2014/main" id="{9461113B-5D3E-4747-862A-23B000800850}"/>
              </a:ext>
            </a:extLst>
          </p:cNvPr>
          <p:cNvSpPr/>
          <p:nvPr userDrawn="1"/>
        </p:nvSpPr>
        <p:spPr>
          <a:xfrm>
            <a:off x="912286" y="1009650"/>
            <a:ext cx="11279716" cy="48387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36" name="Bildplatzhalter 4">
            <a:extLst>
              <a:ext uri="{FF2B5EF4-FFF2-40B4-BE49-F238E27FC236}">
                <a16:creationId xmlns:a16="http://schemas.microsoft.com/office/drawing/2014/main" id="{628C0EC2-2EDB-4946-9BD5-55478645C91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551716" y="1353875"/>
            <a:ext cx="3309176" cy="155198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2" name="Titel 1">
            <a:extLst>
              <a:ext uri="{FF2B5EF4-FFF2-40B4-BE49-F238E27FC236}">
                <a16:creationId xmlns:a16="http://schemas.microsoft.com/office/drawing/2014/main" id="{7AF5B2B1-9CCC-42EB-8F0F-4280F5F011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271621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>
        <p14:flythrough/>
      </p:transition>
    </mc:Choice>
    <mc:Fallback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408">
          <p15:clr>
            <a:srgbClr val="FBAE40"/>
          </p15:clr>
        </p15:guide>
        <p15:guide id="2" pos="348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ani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>
            <a:extLst>
              <a:ext uri="{FF2B5EF4-FFF2-40B4-BE49-F238E27FC236}">
                <a16:creationId xmlns:a16="http://schemas.microsoft.com/office/drawing/2014/main" id="{9461113B-5D3E-4747-862A-23B000800850}"/>
              </a:ext>
            </a:extLst>
          </p:cNvPr>
          <p:cNvSpPr/>
          <p:nvPr userDrawn="1"/>
        </p:nvSpPr>
        <p:spPr>
          <a:xfrm>
            <a:off x="912286" y="1009650"/>
            <a:ext cx="11279716" cy="48387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36" name="Bildplatzhalter 4">
            <a:extLst>
              <a:ext uri="{FF2B5EF4-FFF2-40B4-BE49-F238E27FC236}">
                <a16:creationId xmlns:a16="http://schemas.microsoft.com/office/drawing/2014/main" id="{628C0EC2-2EDB-4946-9BD5-55478645C91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381065" y="1356172"/>
            <a:ext cx="1732881" cy="125791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2" name="Titel 1">
            <a:extLst>
              <a:ext uri="{FF2B5EF4-FFF2-40B4-BE49-F238E27FC236}">
                <a16:creationId xmlns:a16="http://schemas.microsoft.com/office/drawing/2014/main" id="{7AF5B2B1-9CCC-42EB-8F0F-4280F5F011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41A9F677-4DAC-4A15-81B3-D4DEC6B7CDB0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1255927" y="3091061"/>
            <a:ext cx="1728364" cy="135528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06E7AB74-AF20-48A2-9C40-83C82E0F5A4A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478021" y="3091061"/>
            <a:ext cx="1728364" cy="135528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75D2276-AC38-464F-ADA2-2D09EF2AEA17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687960" y="3091061"/>
            <a:ext cx="1728364" cy="135528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A15B1EE3-88E6-438B-8BAB-A140E6DA45F6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7905698" y="3091061"/>
            <a:ext cx="1728364" cy="135528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7F59E4D-3963-4A65-8E55-943B70C2615C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10116623" y="3091061"/>
            <a:ext cx="1728364" cy="135528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42118171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>
        <p14:flythrough/>
      </p:transition>
    </mc:Choice>
    <mc:Fallback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408">
          <p15:clr>
            <a:srgbClr val="FBAE40"/>
          </p15:clr>
        </p15:guide>
        <p15:guide id="2" pos="348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0FB9F193-AE4C-4A2A-8E95-3F077B73C0F8}"/>
              </a:ext>
            </a:extLst>
          </p:cNvPr>
          <p:cNvSpPr/>
          <p:nvPr userDrawn="1"/>
        </p:nvSpPr>
        <p:spPr>
          <a:xfrm>
            <a:off x="-1" y="1"/>
            <a:ext cx="1144085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lvl="0" algn="ctr"/>
            <a:endParaRPr lang="de-DE" sz="2400" err="1">
              <a:latin typeface="+mj-lt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EAAF3A9F-E821-499A-BEC2-27A3632A7486}"/>
              </a:ext>
            </a:extLst>
          </p:cNvPr>
          <p:cNvSpPr/>
          <p:nvPr userDrawn="1"/>
        </p:nvSpPr>
        <p:spPr>
          <a:xfrm>
            <a:off x="912286" y="1009650"/>
            <a:ext cx="11279716" cy="48387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Bildplatzhalter 2"/>
          <p:cNvSpPr>
            <a:spLocks noGrp="1"/>
          </p:cNvSpPr>
          <p:nvPr>
            <p:ph type="pic" sz="quarter" idx="17"/>
          </p:nvPr>
        </p:nvSpPr>
        <p:spPr>
          <a:xfrm>
            <a:off x="912286" y="1009651"/>
            <a:ext cx="11279716" cy="4838550"/>
          </a:xfrm>
          <a:prstGeom prst="rect">
            <a:avLst/>
          </a:prstGeom>
          <a:solidFill>
            <a:schemeClr val="bg1"/>
          </a:solidFill>
        </p:spPr>
        <p:txBody>
          <a:bodyPr anchor="b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-1" y="1009652"/>
            <a:ext cx="6572644" cy="1754575"/>
          </a:xfrm>
          <a:custGeom>
            <a:avLst/>
            <a:gdLst>
              <a:gd name="connsiteX0" fmla="*/ 0 w 4859308"/>
              <a:gd name="connsiteY0" fmla="*/ 0 h 1582989"/>
              <a:gd name="connsiteX1" fmla="*/ 4859308 w 4859308"/>
              <a:gd name="connsiteY1" fmla="*/ 0 h 1582989"/>
              <a:gd name="connsiteX2" fmla="*/ 4859308 w 4859308"/>
              <a:gd name="connsiteY2" fmla="*/ 1582989 h 1582989"/>
              <a:gd name="connsiteX3" fmla="*/ 0 w 4859308"/>
              <a:gd name="connsiteY3" fmla="*/ 1582989 h 1582989"/>
              <a:gd name="connsiteX4" fmla="*/ 0 w 4859308"/>
              <a:gd name="connsiteY4" fmla="*/ 0 h 1582989"/>
              <a:gd name="connsiteX0" fmla="*/ 0 w 5795653"/>
              <a:gd name="connsiteY0" fmla="*/ 0 h 1582989"/>
              <a:gd name="connsiteX1" fmla="*/ 4859308 w 5795653"/>
              <a:gd name="connsiteY1" fmla="*/ 0 h 1582989"/>
              <a:gd name="connsiteX2" fmla="*/ 5795653 w 5795653"/>
              <a:gd name="connsiteY2" fmla="*/ 1575674 h 1582989"/>
              <a:gd name="connsiteX3" fmla="*/ 0 w 5795653"/>
              <a:gd name="connsiteY3" fmla="*/ 1582989 h 1582989"/>
              <a:gd name="connsiteX4" fmla="*/ 0 w 5795653"/>
              <a:gd name="connsiteY4" fmla="*/ 0 h 1582989"/>
              <a:gd name="connsiteX0" fmla="*/ 0 w 5615439"/>
              <a:gd name="connsiteY0" fmla="*/ 0 h 1582989"/>
              <a:gd name="connsiteX1" fmla="*/ 4859308 w 5615439"/>
              <a:gd name="connsiteY1" fmla="*/ 0 h 1582989"/>
              <a:gd name="connsiteX2" fmla="*/ 5615439 w 5615439"/>
              <a:gd name="connsiteY2" fmla="*/ 1575674 h 1582989"/>
              <a:gd name="connsiteX3" fmla="*/ 0 w 5615439"/>
              <a:gd name="connsiteY3" fmla="*/ 1582989 h 1582989"/>
              <a:gd name="connsiteX4" fmla="*/ 0 w 5615439"/>
              <a:gd name="connsiteY4" fmla="*/ 0 h 1582989"/>
              <a:gd name="connsiteX0" fmla="*/ 0 w 5615439"/>
              <a:gd name="connsiteY0" fmla="*/ 0 h 1582989"/>
              <a:gd name="connsiteX1" fmla="*/ 4859308 w 5615439"/>
              <a:gd name="connsiteY1" fmla="*/ 0 h 1582989"/>
              <a:gd name="connsiteX2" fmla="*/ 5615439 w 5615439"/>
              <a:gd name="connsiteY2" fmla="*/ 1582989 h 1582989"/>
              <a:gd name="connsiteX3" fmla="*/ 0 w 5615439"/>
              <a:gd name="connsiteY3" fmla="*/ 1582989 h 1582989"/>
              <a:gd name="connsiteX4" fmla="*/ 0 w 5615439"/>
              <a:gd name="connsiteY4" fmla="*/ 0 h 1582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5439" h="1582989">
                <a:moveTo>
                  <a:pt x="0" y="0"/>
                </a:moveTo>
                <a:lnTo>
                  <a:pt x="4859308" y="0"/>
                </a:lnTo>
                <a:lnTo>
                  <a:pt x="5615439" y="1582989"/>
                </a:lnTo>
                <a:lnTo>
                  <a:pt x="0" y="1582989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</p:spPr>
        <p:txBody>
          <a:bodyPr wrap="none" lIns="684000" tIns="180000" rIns="1260000" bIns="900000">
            <a:spAutoFit/>
          </a:bodyPr>
          <a:lstStyle>
            <a:lvl1pPr algn="l">
              <a:defRPr sz="4315" b="1">
                <a:solidFill>
                  <a:schemeClr val="bg1"/>
                </a:solidFill>
              </a:defRPr>
            </a:lvl1pPr>
          </a:lstStyle>
          <a:p>
            <a:r>
              <a:rPr lang="en-US" err="1"/>
              <a:t>Titel</a:t>
            </a:r>
            <a:r>
              <a:rPr lang="en-US"/>
              <a:t> / </a:t>
            </a:r>
            <a:r>
              <a:rPr lang="en-US" err="1"/>
              <a:t>Veranstaltung</a:t>
            </a:r>
            <a:endParaRPr lang="en-US"/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4D65D662-8F5E-4621-A86C-89E2733D22C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12284" y="2035717"/>
            <a:ext cx="2211759" cy="35201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spcBef>
                <a:spcPts val="800"/>
              </a:spcBef>
              <a:buNone/>
              <a:defRPr sz="2158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A676C5FC-564D-48EB-93AA-C8A3462DA1B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12284" y="2453648"/>
            <a:ext cx="1217706" cy="35201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spcBef>
                <a:spcPts val="800"/>
              </a:spcBef>
              <a:buNone/>
              <a:defRPr sz="2158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Datum, Ort</a:t>
            </a:r>
          </a:p>
        </p:txBody>
      </p:sp>
    </p:spTree>
    <p:extLst>
      <p:ext uri="{BB962C8B-B14F-4D97-AF65-F5344CB8AC3E}">
        <p14:creationId xmlns:p14="http://schemas.microsoft.com/office/powerpoint/2010/main" val="27644980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>
        <p14:flythrough/>
      </p:transition>
    </mc:Choice>
    <mc:Fallback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&amp; Bild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E0647B6A-76EC-47E4-91B6-049EB09B2C5C}"/>
              </a:ext>
            </a:extLst>
          </p:cNvPr>
          <p:cNvSpPr/>
          <p:nvPr userDrawn="1"/>
        </p:nvSpPr>
        <p:spPr>
          <a:xfrm>
            <a:off x="912286" y="1009650"/>
            <a:ext cx="11279716" cy="48387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17" name="Bildplatzhalter 5">
            <a:extLst>
              <a:ext uri="{FF2B5EF4-FFF2-40B4-BE49-F238E27FC236}">
                <a16:creationId xmlns:a16="http://schemas.microsoft.com/office/drawing/2014/main" id="{407B090F-1EAA-4556-8981-5234D055CB2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581899" y="1013140"/>
            <a:ext cx="5608439" cy="4834962"/>
          </a:xfrm>
          <a:custGeom>
            <a:avLst/>
            <a:gdLst>
              <a:gd name="connsiteX0" fmla="*/ 0 w 3719512"/>
              <a:gd name="connsiteY0" fmla="*/ 0 h 3313112"/>
              <a:gd name="connsiteX1" fmla="*/ 3719512 w 3719512"/>
              <a:gd name="connsiteY1" fmla="*/ 0 h 3313112"/>
              <a:gd name="connsiteX2" fmla="*/ 3719512 w 3719512"/>
              <a:gd name="connsiteY2" fmla="*/ 3313112 h 3313112"/>
              <a:gd name="connsiteX3" fmla="*/ 0 w 3719512"/>
              <a:gd name="connsiteY3" fmla="*/ 3313112 h 3313112"/>
              <a:gd name="connsiteX4" fmla="*/ 0 w 3719512"/>
              <a:gd name="connsiteY4" fmla="*/ 0 h 3313112"/>
              <a:gd name="connsiteX0" fmla="*/ 0 w 3719512"/>
              <a:gd name="connsiteY0" fmla="*/ 0 h 3313112"/>
              <a:gd name="connsiteX1" fmla="*/ 3719512 w 3719512"/>
              <a:gd name="connsiteY1" fmla="*/ 0 h 3313112"/>
              <a:gd name="connsiteX2" fmla="*/ 3719512 w 3719512"/>
              <a:gd name="connsiteY2" fmla="*/ 3313112 h 3313112"/>
              <a:gd name="connsiteX3" fmla="*/ 0 w 3719512"/>
              <a:gd name="connsiteY3" fmla="*/ 3313112 h 3313112"/>
              <a:gd name="connsiteX4" fmla="*/ 1876 w 3719512"/>
              <a:gd name="connsiteY4" fmla="*/ 558078 h 3313112"/>
              <a:gd name="connsiteX5" fmla="*/ 0 w 3719512"/>
              <a:gd name="connsiteY5" fmla="*/ 0 h 3313112"/>
              <a:gd name="connsiteX0" fmla="*/ 660400 w 3719512"/>
              <a:gd name="connsiteY0" fmla="*/ 4618 h 3313112"/>
              <a:gd name="connsiteX1" fmla="*/ 3719512 w 3719512"/>
              <a:gd name="connsiteY1" fmla="*/ 0 h 3313112"/>
              <a:gd name="connsiteX2" fmla="*/ 3719512 w 3719512"/>
              <a:gd name="connsiteY2" fmla="*/ 3313112 h 3313112"/>
              <a:gd name="connsiteX3" fmla="*/ 0 w 3719512"/>
              <a:gd name="connsiteY3" fmla="*/ 3313112 h 3313112"/>
              <a:gd name="connsiteX4" fmla="*/ 1876 w 3719512"/>
              <a:gd name="connsiteY4" fmla="*/ 558078 h 3313112"/>
              <a:gd name="connsiteX5" fmla="*/ 660400 w 3719512"/>
              <a:gd name="connsiteY5" fmla="*/ 4618 h 3313112"/>
              <a:gd name="connsiteX0" fmla="*/ 660400 w 3719512"/>
              <a:gd name="connsiteY0" fmla="*/ 4618 h 3313112"/>
              <a:gd name="connsiteX1" fmla="*/ 3719512 w 3719512"/>
              <a:gd name="connsiteY1" fmla="*/ 0 h 3313112"/>
              <a:gd name="connsiteX2" fmla="*/ 3719512 w 3719512"/>
              <a:gd name="connsiteY2" fmla="*/ 3313112 h 3313112"/>
              <a:gd name="connsiteX3" fmla="*/ 0 w 3719512"/>
              <a:gd name="connsiteY3" fmla="*/ 3313112 h 3313112"/>
              <a:gd name="connsiteX4" fmla="*/ 11113 w 3719512"/>
              <a:gd name="connsiteY4" fmla="*/ 1052223 h 3313112"/>
              <a:gd name="connsiteX5" fmla="*/ 660400 w 3719512"/>
              <a:gd name="connsiteY5" fmla="*/ 4618 h 3313112"/>
              <a:gd name="connsiteX0" fmla="*/ 660400 w 3719512"/>
              <a:gd name="connsiteY0" fmla="*/ 4618 h 3313112"/>
              <a:gd name="connsiteX1" fmla="*/ 3719512 w 3719512"/>
              <a:gd name="connsiteY1" fmla="*/ 0 h 3313112"/>
              <a:gd name="connsiteX2" fmla="*/ 3719512 w 3719512"/>
              <a:gd name="connsiteY2" fmla="*/ 3313112 h 3313112"/>
              <a:gd name="connsiteX3" fmla="*/ 0 w 3719512"/>
              <a:gd name="connsiteY3" fmla="*/ 3313112 h 3313112"/>
              <a:gd name="connsiteX4" fmla="*/ 11113 w 3719512"/>
              <a:gd name="connsiteY4" fmla="*/ 1052223 h 3313112"/>
              <a:gd name="connsiteX5" fmla="*/ 660400 w 3719512"/>
              <a:gd name="connsiteY5" fmla="*/ 4618 h 3313112"/>
              <a:gd name="connsiteX0" fmla="*/ 649288 w 3708400"/>
              <a:gd name="connsiteY0" fmla="*/ 4618 h 3313112"/>
              <a:gd name="connsiteX1" fmla="*/ 3708400 w 3708400"/>
              <a:gd name="connsiteY1" fmla="*/ 0 h 3313112"/>
              <a:gd name="connsiteX2" fmla="*/ 3708400 w 3708400"/>
              <a:gd name="connsiteY2" fmla="*/ 3313112 h 3313112"/>
              <a:gd name="connsiteX3" fmla="*/ 727797 w 3708400"/>
              <a:gd name="connsiteY3" fmla="*/ 3313112 h 3313112"/>
              <a:gd name="connsiteX4" fmla="*/ 1 w 3708400"/>
              <a:gd name="connsiteY4" fmla="*/ 1052223 h 3313112"/>
              <a:gd name="connsiteX5" fmla="*/ 649288 w 3708400"/>
              <a:gd name="connsiteY5" fmla="*/ 4618 h 3313112"/>
              <a:gd name="connsiteX0" fmla="*/ 649288 w 3708400"/>
              <a:gd name="connsiteY0" fmla="*/ 4618 h 3313127"/>
              <a:gd name="connsiteX1" fmla="*/ 3708400 w 3708400"/>
              <a:gd name="connsiteY1" fmla="*/ 0 h 3313127"/>
              <a:gd name="connsiteX2" fmla="*/ 3708400 w 3708400"/>
              <a:gd name="connsiteY2" fmla="*/ 3313112 h 3313127"/>
              <a:gd name="connsiteX3" fmla="*/ 727797 w 3708400"/>
              <a:gd name="connsiteY3" fmla="*/ 3313112 h 3313127"/>
              <a:gd name="connsiteX4" fmla="*/ 1 w 3708400"/>
              <a:gd name="connsiteY4" fmla="*/ 1052223 h 3313127"/>
              <a:gd name="connsiteX5" fmla="*/ 649288 w 3708400"/>
              <a:gd name="connsiteY5" fmla="*/ 4618 h 3313127"/>
              <a:gd name="connsiteX0" fmla="*/ 649287 w 3708399"/>
              <a:gd name="connsiteY0" fmla="*/ 4618 h 3313127"/>
              <a:gd name="connsiteX1" fmla="*/ 3708399 w 3708399"/>
              <a:gd name="connsiteY1" fmla="*/ 0 h 3313127"/>
              <a:gd name="connsiteX2" fmla="*/ 3708399 w 3708399"/>
              <a:gd name="connsiteY2" fmla="*/ 3313112 h 3313127"/>
              <a:gd name="connsiteX3" fmla="*/ 727796 w 3708399"/>
              <a:gd name="connsiteY3" fmla="*/ 3313112 h 3313127"/>
              <a:gd name="connsiteX4" fmla="*/ 0 w 3708399"/>
              <a:gd name="connsiteY4" fmla="*/ 1052223 h 3313127"/>
              <a:gd name="connsiteX5" fmla="*/ 649287 w 3708399"/>
              <a:gd name="connsiteY5" fmla="*/ 4618 h 3313127"/>
              <a:gd name="connsiteX0" fmla="*/ 649287 w 3708399"/>
              <a:gd name="connsiteY0" fmla="*/ 4618 h 3313127"/>
              <a:gd name="connsiteX1" fmla="*/ 3708399 w 3708399"/>
              <a:gd name="connsiteY1" fmla="*/ 0 h 3313127"/>
              <a:gd name="connsiteX2" fmla="*/ 3708399 w 3708399"/>
              <a:gd name="connsiteY2" fmla="*/ 3313112 h 3313127"/>
              <a:gd name="connsiteX3" fmla="*/ 727796 w 3708399"/>
              <a:gd name="connsiteY3" fmla="*/ 3313112 h 3313127"/>
              <a:gd name="connsiteX4" fmla="*/ 0 w 3708399"/>
              <a:gd name="connsiteY4" fmla="*/ 1052223 h 3313127"/>
              <a:gd name="connsiteX5" fmla="*/ 649287 w 3708399"/>
              <a:gd name="connsiteY5" fmla="*/ 4618 h 3313127"/>
              <a:gd name="connsiteX0" fmla="*/ 649287 w 3708399"/>
              <a:gd name="connsiteY0" fmla="*/ 4618 h 3313127"/>
              <a:gd name="connsiteX1" fmla="*/ 3708399 w 3708399"/>
              <a:gd name="connsiteY1" fmla="*/ 0 h 3313127"/>
              <a:gd name="connsiteX2" fmla="*/ 3708399 w 3708399"/>
              <a:gd name="connsiteY2" fmla="*/ 3313112 h 3313127"/>
              <a:gd name="connsiteX3" fmla="*/ 727796 w 3708399"/>
              <a:gd name="connsiteY3" fmla="*/ 3313112 h 3313127"/>
              <a:gd name="connsiteX4" fmla="*/ 0 w 3708399"/>
              <a:gd name="connsiteY4" fmla="*/ 1052223 h 3313127"/>
              <a:gd name="connsiteX5" fmla="*/ 649287 w 3708399"/>
              <a:gd name="connsiteY5" fmla="*/ 4618 h 3313127"/>
              <a:gd name="connsiteX0" fmla="*/ 649287 w 3708399"/>
              <a:gd name="connsiteY0" fmla="*/ 4618 h 3313127"/>
              <a:gd name="connsiteX1" fmla="*/ 3708399 w 3708399"/>
              <a:gd name="connsiteY1" fmla="*/ 0 h 3313127"/>
              <a:gd name="connsiteX2" fmla="*/ 3708399 w 3708399"/>
              <a:gd name="connsiteY2" fmla="*/ 3313112 h 3313127"/>
              <a:gd name="connsiteX3" fmla="*/ 727796 w 3708399"/>
              <a:gd name="connsiteY3" fmla="*/ 3313112 h 3313127"/>
              <a:gd name="connsiteX4" fmla="*/ 0 w 3708399"/>
              <a:gd name="connsiteY4" fmla="*/ 1038368 h 3313127"/>
              <a:gd name="connsiteX5" fmla="*/ 649287 w 3708399"/>
              <a:gd name="connsiteY5" fmla="*/ 4618 h 3313127"/>
              <a:gd name="connsiteX0" fmla="*/ 649287 w 4251324"/>
              <a:gd name="connsiteY0" fmla="*/ 0 h 3308509"/>
              <a:gd name="connsiteX1" fmla="*/ 4251324 w 4251324"/>
              <a:gd name="connsiteY1" fmla="*/ 2525 h 3308509"/>
              <a:gd name="connsiteX2" fmla="*/ 3708399 w 4251324"/>
              <a:gd name="connsiteY2" fmla="*/ 3308494 h 3308509"/>
              <a:gd name="connsiteX3" fmla="*/ 727796 w 4251324"/>
              <a:gd name="connsiteY3" fmla="*/ 3308494 h 3308509"/>
              <a:gd name="connsiteX4" fmla="*/ 0 w 4251324"/>
              <a:gd name="connsiteY4" fmla="*/ 1033750 h 3308509"/>
              <a:gd name="connsiteX5" fmla="*/ 649287 w 4251324"/>
              <a:gd name="connsiteY5" fmla="*/ 0 h 3308509"/>
              <a:gd name="connsiteX0" fmla="*/ 649287 w 4251324"/>
              <a:gd name="connsiteY0" fmla="*/ 0 h 3308509"/>
              <a:gd name="connsiteX1" fmla="*/ 4251324 w 4251324"/>
              <a:gd name="connsiteY1" fmla="*/ 2525 h 3308509"/>
              <a:gd name="connsiteX2" fmla="*/ 4248943 w 4251324"/>
              <a:gd name="connsiteY2" fmla="*/ 3306113 h 3308509"/>
              <a:gd name="connsiteX3" fmla="*/ 727796 w 4251324"/>
              <a:gd name="connsiteY3" fmla="*/ 3308494 h 3308509"/>
              <a:gd name="connsiteX4" fmla="*/ 0 w 4251324"/>
              <a:gd name="connsiteY4" fmla="*/ 1033750 h 3308509"/>
              <a:gd name="connsiteX5" fmla="*/ 649287 w 4251324"/>
              <a:gd name="connsiteY5" fmla="*/ 0 h 3308509"/>
              <a:gd name="connsiteX0" fmla="*/ 649287 w 4251324"/>
              <a:gd name="connsiteY0" fmla="*/ 0 h 3308509"/>
              <a:gd name="connsiteX1" fmla="*/ 4251324 w 4251324"/>
              <a:gd name="connsiteY1" fmla="*/ 2525 h 3308509"/>
              <a:gd name="connsiteX2" fmla="*/ 4248943 w 4251324"/>
              <a:gd name="connsiteY2" fmla="*/ 3306113 h 3308509"/>
              <a:gd name="connsiteX3" fmla="*/ 727796 w 4251324"/>
              <a:gd name="connsiteY3" fmla="*/ 3308494 h 3308509"/>
              <a:gd name="connsiteX4" fmla="*/ 0 w 4251324"/>
              <a:gd name="connsiteY4" fmla="*/ 1044382 h 3308509"/>
              <a:gd name="connsiteX5" fmla="*/ 649287 w 4251324"/>
              <a:gd name="connsiteY5" fmla="*/ 0 h 3308509"/>
              <a:gd name="connsiteX0" fmla="*/ 649287 w 4251523"/>
              <a:gd name="connsiteY0" fmla="*/ 0 h 3308509"/>
              <a:gd name="connsiteX1" fmla="*/ 4251324 w 4251523"/>
              <a:gd name="connsiteY1" fmla="*/ 2525 h 3308509"/>
              <a:gd name="connsiteX2" fmla="*/ 4251290 w 4251523"/>
              <a:gd name="connsiteY2" fmla="*/ 3306113 h 3308509"/>
              <a:gd name="connsiteX3" fmla="*/ 727796 w 4251523"/>
              <a:gd name="connsiteY3" fmla="*/ 3308494 h 3308509"/>
              <a:gd name="connsiteX4" fmla="*/ 0 w 4251523"/>
              <a:gd name="connsiteY4" fmla="*/ 1044382 h 3308509"/>
              <a:gd name="connsiteX5" fmla="*/ 649287 w 4251523"/>
              <a:gd name="connsiteY5" fmla="*/ 0 h 3308509"/>
              <a:gd name="connsiteX0" fmla="*/ 649287 w 4251524"/>
              <a:gd name="connsiteY0" fmla="*/ 0 h 3308509"/>
              <a:gd name="connsiteX1" fmla="*/ 4251324 w 4251524"/>
              <a:gd name="connsiteY1" fmla="*/ 2525 h 3308509"/>
              <a:gd name="connsiteX2" fmla="*/ 4251291 w 4251524"/>
              <a:gd name="connsiteY2" fmla="*/ 3306113 h 3308509"/>
              <a:gd name="connsiteX3" fmla="*/ 727796 w 4251524"/>
              <a:gd name="connsiteY3" fmla="*/ 3308494 h 3308509"/>
              <a:gd name="connsiteX4" fmla="*/ 0 w 4251524"/>
              <a:gd name="connsiteY4" fmla="*/ 1044382 h 3308509"/>
              <a:gd name="connsiteX5" fmla="*/ 649287 w 4251524"/>
              <a:gd name="connsiteY5" fmla="*/ 0 h 3308509"/>
              <a:gd name="connsiteX0" fmla="*/ 649287 w 4256061"/>
              <a:gd name="connsiteY0" fmla="*/ 0 h 3308509"/>
              <a:gd name="connsiteX1" fmla="*/ 4251324 w 4256061"/>
              <a:gd name="connsiteY1" fmla="*/ 2525 h 3308509"/>
              <a:gd name="connsiteX2" fmla="*/ 4255992 w 4256061"/>
              <a:gd name="connsiteY2" fmla="*/ 3308462 h 3308509"/>
              <a:gd name="connsiteX3" fmla="*/ 727796 w 4256061"/>
              <a:gd name="connsiteY3" fmla="*/ 3308494 h 3308509"/>
              <a:gd name="connsiteX4" fmla="*/ 0 w 4256061"/>
              <a:gd name="connsiteY4" fmla="*/ 1044382 h 3308509"/>
              <a:gd name="connsiteX5" fmla="*/ 649287 w 4256061"/>
              <a:gd name="connsiteY5" fmla="*/ 0 h 3308509"/>
              <a:gd name="connsiteX0" fmla="*/ 649287 w 4256225"/>
              <a:gd name="connsiteY0" fmla="*/ 2175 h 3310684"/>
              <a:gd name="connsiteX1" fmla="*/ 4256025 w 4256225"/>
              <a:gd name="connsiteY1" fmla="*/ 0 h 3310684"/>
              <a:gd name="connsiteX2" fmla="*/ 4255992 w 4256225"/>
              <a:gd name="connsiteY2" fmla="*/ 3310637 h 3310684"/>
              <a:gd name="connsiteX3" fmla="*/ 727796 w 4256225"/>
              <a:gd name="connsiteY3" fmla="*/ 3310669 h 3310684"/>
              <a:gd name="connsiteX4" fmla="*/ 0 w 4256225"/>
              <a:gd name="connsiteY4" fmla="*/ 1046557 h 3310684"/>
              <a:gd name="connsiteX5" fmla="*/ 649287 w 4256225"/>
              <a:gd name="connsiteY5" fmla="*/ 2175 h 3310684"/>
              <a:gd name="connsiteX0" fmla="*/ 649287 w 4256225"/>
              <a:gd name="connsiteY0" fmla="*/ 0 h 3308509"/>
              <a:gd name="connsiteX1" fmla="*/ 4256025 w 4256225"/>
              <a:gd name="connsiteY1" fmla="*/ 105 h 3308509"/>
              <a:gd name="connsiteX2" fmla="*/ 4255992 w 4256225"/>
              <a:gd name="connsiteY2" fmla="*/ 3308462 h 3308509"/>
              <a:gd name="connsiteX3" fmla="*/ 727796 w 4256225"/>
              <a:gd name="connsiteY3" fmla="*/ 3308494 h 3308509"/>
              <a:gd name="connsiteX4" fmla="*/ 0 w 4256225"/>
              <a:gd name="connsiteY4" fmla="*/ 1044382 h 3308509"/>
              <a:gd name="connsiteX5" fmla="*/ 649287 w 4256225"/>
              <a:gd name="connsiteY5" fmla="*/ 0 h 3308509"/>
              <a:gd name="connsiteX0" fmla="*/ 651566 w 4256225"/>
              <a:gd name="connsiteY0" fmla="*/ 0 h 3308509"/>
              <a:gd name="connsiteX1" fmla="*/ 4256025 w 4256225"/>
              <a:gd name="connsiteY1" fmla="*/ 105 h 3308509"/>
              <a:gd name="connsiteX2" fmla="*/ 4255992 w 4256225"/>
              <a:gd name="connsiteY2" fmla="*/ 3308462 h 3308509"/>
              <a:gd name="connsiteX3" fmla="*/ 727796 w 4256225"/>
              <a:gd name="connsiteY3" fmla="*/ 3308494 h 3308509"/>
              <a:gd name="connsiteX4" fmla="*/ 0 w 4256225"/>
              <a:gd name="connsiteY4" fmla="*/ 1044382 h 3308509"/>
              <a:gd name="connsiteX5" fmla="*/ 651566 w 4256225"/>
              <a:gd name="connsiteY5" fmla="*/ 0 h 3308509"/>
              <a:gd name="connsiteX0" fmla="*/ 997051 w 4601710"/>
              <a:gd name="connsiteY0" fmla="*/ 0 h 3308509"/>
              <a:gd name="connsiteX1" fmla="*/ 4601510 w 4601710"/>
              <a:gd name="connsiteY1" fmla="*/ 105 h 3308509"/>
              <a:gd name="connsiteX2" fmla="*/ 4601477 w 4601710"/>
              <a:gd name="connsiteY2" fmla="*/ 3308462 h 3308509"/>
              <a:gd name="connsiteX3" fmla="*/ 1073281 w 4601710"/>
              <a:gd name="connsiteY3" fmla="*/ 3308494 h 3308509"/>
              <a:gd name="connsiteX4" fmla="*/ 0 w 4601710"/>
              <a:gd name="connsiteY4" fmla="*/ 1059736 h 3308509"/>
              <a:gd name="connsiteX5" fmla="*/ 997051 w 4601710"/>
              <a:gd name="connsiteY5" fmla="*/ 0 h 3308509"/>
              <a:gd name="connsiteX0" fmla="*/ 997051 w 4601710"/>
              <a:gd name="connsiteY0" fmla="*/ 0 h 3308509"/>
              <a:gd name="connsiteX1" fmla="*/ 4601510 w 4601710"/>
              <a:gd name="connsiteY1" fmla="*/ 105 h 3308509"/>
              <a:gd name="connsiteX2" fmla="*/ 4601477 w 4601710"/>
              <a:gd name="connsiteY2" fmla="*/ 3308462 h 3308509"/>
              <a:gd name="connsiteX3" fmla="*/ 1073281 w 4601710"/>
              <a:gd name="connsiteY3" fmla="*/ 3308494 h 3308509"/>
              <a:gd name="connsiteX4" fmla="*/ 0 w 4601710"/>
              <a:gd name="connsiteY4" fmla="*/ 1059736 h 3308509"/>
              <a:gd name="connsiteX5" fmla="*/ 997051 w 4601710"/>
              <a:gd name="connsiteY5" fmla="*/ 0 h 3308509"/>
              <a:gd name="connsiteX0" fmla="*/ 997051 w 4601710"/>
              <a:gd name="connsiteY0" fmla="*/ 0 h 3308509"/>
              <a:gd name="connsiteX1" fmla="*/ 4601510 w 4601710"/>
              <a:gd name="connsiteY1" fmla="*/ 105 h 3308509"/>
              <a:gd name="connsiteX2" fmla="*/ 4601477 w 4601710"/>
              <a:gd name="connsiteY2" fmla="*/ 3308462 h 3308509"/>
              <a:gd name="connsiteX3" fmla="*/ 1854794 w 4601710"/>
              <a:gd name="connsiteY3" fmla="*/ 3308494 h 3308509"/>
              <a:gd name="connsiteX4" fmla="*/ 0 w 4601710"/>
              <a:gd name="connsiteY4" fmla="*/ 1059736 h 3308509"/>
              <a:gd name="connsiteX5" fmla="*/ 997051 w 4601710"/>
              <a:gd name="connsiteY5" fmla="*/ 0 h 3308509"/>
              <a:gd name="connsiteX0" fmla="*/ 233128 w 3837787"/>
              <a:gd name="connsiteY0" fmla="*/ 0 h 3308508"/>
              <a:gd name="connsiteX1" fmla="*/ 3837587 w 3837787"/>
              <a:gd name="connsiteY1" fmla="*/ 105 h 3308508"/>
              <a:gd name="connsiteX2" fmla="*/ 3837554 w 3837787"/>
              <a:gd name="connsiteY2" fmla="*/ 3308462 h 3308508"/>
              <a:gd name="connsiteX3" fmla="*/ 1090871 w 3837787"/>
              <a:gd name="connsiteY3" fmla="*/ 3308494 h 3308508"/>
              <a:gd name="connsiteX4" fmla="*/ 0 w 3837787"/>
              <a:gd name="connsiteY4" fmla="*/ 1027068 h 3308508"/>
              <a:gd name="connsiteX5" fmla="*/ 233128 w 3837787"/>
              <a:gd name="connsiteY5" fmla="*/ 0 h 3308508"/>
              <a:gd name="connsiteX0" fmla="*/ 485641 w 3837787"/>
              <a:gd name="connsiteY0" fmla="*/ 0 h 3308508"/>
              <a:gd name="connsiteX1" fmla="*/ 3837587 w 3837787"/>
              <a:gd name="connsiteY1" fmla="*/ 105 h 3308508"/>
              <a:gd name="connsiteX2" fmla="*/ 3837554 w 3837787"/>
              <a:gd name="connsiteY2" fmla="*/ 3308462 h 3308508"/>
              <a:gd name="connsiteX3" fmla="*/ 1090871 w 3837787"/>
              <a:gd name="connsiteY3" fmla="*/ 3308494 h 3308508"/>
              <a:gd name="connsiteX4" fmla="*/ 0 w 3837787"/>
              <a:gd name="connsiteY4" fmla="*/ 1027068 h 3308508"/>
              <a:gd name="connsiteX5" fmla="*/ 485641 w 3837787"/>
              <a:gd name="connsiteY5" fmla="*/ 0 h 3308508"/>
              <a:gd name="connsiteX0" fmla="*/ 488116 w 3837787"/>
              <a:gd name="connsiteY0" fmla="*/ 0 h 3308508"/>
              <a:gd name="connsiteX1" fmla="*/ 3837587 w 3837787"/>
              <a:gd name="connsiteY1" fmla="*/ 105 h 3308508"/>
              <a:gd name="connsiteX2" fmla="*/ 3837554 w 3837787"/>
              <a:gd name="connsiteY2" fmla="*/ 3308462 h 3308508"/>
              <a:gd name="connsiteX3" fmla="*/ 1090871 w 3837787"/>
              <a:gd name="connsiteY3" fmla="*/ 3308494 h 3308508"/>
              <a:gd name="connsiteX4" fmla="*/ 0 w 3837787"/>
              <a:gd name="connsiteY4" fmla="*/ 1027068 h 3308508"/>
              <a:gd name="connsiteX5" fmla="*/ 488116 w 3837787"/>
              <a:gd name="connsiteY5" fmla="*/ 0 h 3308508"/>
              <a:gd name="connsiteX0" fmla="*/ 488116 w 3837787"/>
              <a:gd name="connsiteY0" fmla="*/ 0 h 3308508"/>
              <a:gd name="connsiteX1" fmla="*/ 3837587 w 3837787"/>
              <a:gd name="connsiteY1" fmla="*/ 105 h 3308508"/>
              <a:gd name="connsiteX2" fmla="*/ 3837554 w 3837787"/>
              <a:gd name="connsiteY2" fmla="*/ 3308462 h 3308508"/>
              <a:gd name="connsiteX3" fmla="*/ 1090871 w 3837787"/>
              <a:gd name="connsiteY3" fmla="*/ 3308494 h 3308508"/>
              <a:gd name="connsiteX4" fmla="*/ 0 w 3837787"/>
              <a:gd name="connsiteY4" fmla="*/ 1027068 h 3308508"/>
              <a:gd name="connsiteX5" fmla="*/ 488116 w 3837787"/>
              <a:gd name="connsiteY5" fmla="*/ 0 h 3308508"/>
              <a:gd name="connsiteX0" fmla="*/ 488116 w 3837787"/>
              <a:gd name="connsiteY0" fmla="*/ 0 h 3308508"/>
              <a:gd name="connsiteX1" fmla="*/ 3837587 w 3837787"/>
              <a:gd name="connsiteY1" fmla="*/ 105 h 3308508"/>
              <a:gd name="connsiteX2" fmla="*/ 3837554 w 3837787"/>
              <a:gd name="connsiteY2" fmla="*/ 3308462 h 3308508"/>
              <a:gd name="connsiteX3" fmla="*/ 1090871 w 3837787"/>
              <a:gd name="connsiteY3" fmla="*/ 3308494 h 3308508"/>
              <a:gd name="connsiteX4" fmla="*/ 0 w 3837787"/>
              <a:gd name="connsiteY4" fmla="*/ 1027068 h 3308508"/>
              <a:gd name="connsiteX5" fmla="*/ 488116 w 3837787"/>
              <a:gd name="connsiteY5" fmla="*/ 0 h 3308508"/>
              <a:gd name="connsiteX0" fmla="*/ 488116 w 3837787"/>
              <a:gd name="connsiteY0" fmla="*/ 0 h 3308508"/>
              <a:gd name="connsiteX1" fmla="*/ 3837587 w 3837787"/>
              <a:gd name="connsiteY1" fmla="*/ 105 h 3308508"/>
              <a:gd name="connsiteX2" fmla="*/ 3837554 w 3837787"/>
              <a:gd name="connsiteY2" fmla="*/ 3308462 h 3308508"/>
              <a:gd name="connsiteX3" fmla="*/ 1090871 w 3837787"/>
              <a:gd name="connsiteY3" fmla="*/ 3308494 h 3308508"/>
              <a:gd name="connsiteX4" fmla="*/ 0 w 3837787"/>
              <a:gd name="connsiteY4" fmla="*/ 1027068 h 3308508"/>
              <a:gd name="connsiteX5" fmla="*/ 488116 w 3837787"/>
              <a:gd name="connsiteY5" fmla="*/ 0 h 3308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37787" h="3308508">
                <a:moveTo>
                  <a:pt x="488116" y="0"/>
                </a:moveTo>
                <a:lnTo>
                  <a:pt x="3837587" y="105"/>
                </a:lnTo>
                <a:cubicBezTo>
                  <a:pt x="3836793" y="1101301"/>
                  <a:pt x="3838348" y="2207266"/>
                  <a:pt x="3837554" y="3308462"/>
                </a:cubicBezTo>
                <a:lnTo>
                  <a:pt x="1090871" y="3308494"/>
                </a:lnTo>
                <a:cubicBezTo>
                  <a:pt x="1091496" y="3313785"/>
                  <a:pt x="409600" y="1886052"/>
                  <a:pt x="0" y="1027068"/>
                </a:cubicBezTo>
                <a:cubicBezTo>
                  <a:pt x="203863" y="609799"/>
                  <a:pt x="311629" y="380324"/>
                  <a:pt x="488116" y="0"/>
                </a:cubicBezTo>
                <a:close/>
              </a:path>
            </a:pathLst>
          </a:custGeom>
        </p:spPr>
        <p:txBody>
          <a:bodyPr anchor="ctr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A799D434-E711-5848-80D1-3DAB88AD9CD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171503" y="1345341"/>
            <a:ext cx="3438600" cy="59042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158" b="1">
                <a:solidFill>
                  <a:schemeClr val="tx1"/>
                </a:solidFill>
              </a:defRPr>
            </a:lvl1pPr>
            <a:lvl2pPr marL="719990" indent="-239997">
              <a:spcBef>
                <a:spcPts val="0"/>
              </a:spcBef>
              <a:defRPr sz="1866">
                <a:solidFill>
                  <a:schemeClr val="tx1"/>
                </a:solidFill>
              </a:defRPr>
            </a:lvl2pPr>
            <a:lvl3pPr marL="1439979" indent="-239997">
              <a:spcBef>
                <a:spcPts val="0"/>
              </a:spcBef>
              <a:buFont typeface="Wingdings" panose="05000000000000000000" pitchFamily="2" charset="2"/>
              <a:buChar char="§"/>
              <a:defRPr sz="1866">
                <a:solidFill>
                  <a:schemeClr val="tx1"/>
                </a:solidFill>
              </a:defRPr>
            </a:lvl3pPr>
            <a:lvl4pPr>
              <a:defRPr sz="1866">
                <a:solidFill>
                  <a:schemeClr val="tx1"/>
                </a:solidFill>
              </a:defRPr>
            </a:lvl4pPr>
            <a:lvl5pPr>
              <a:defRPr sz="1866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Hier eine Überschrift einfügen</a:t>
            </a: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B06A5221-38FC-0A45-B567-8FC9F2C8A2D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171506" y="2222564"/>
            <a:ext cx="3438598" cy="3290096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230396" indent="-230396">
              <a:spcBef>
                <a:spcPts val="800"/>
              </a:spcBef>
              <a:spcAft>
                <a:spcPts val="0"/>
              </a:spcAft>
              <a:buFontTx/>
              <a:buBlip>
                <a:blip r:embed="rId2"/>
              </a:buBlip>
              <a:defRPr sz="1438" b="0">
                <a:solidFill>
                  <a:schemeClr val="tx1"/>
                </a:solidFill>
              </a:defRPr>
            </a:lvl1pPr>
            <a:lvl2pPr marL="719990" indent="-239997">
              <a:spcBef>
                <a:spcPts val="0"/>
              </a:spcBef>
              <a:defRPr sz="1866">
                <a:solidFill>
                  <a:schemeClr val="tx1"/>
                </a:solidFill>
              </a:defRPr>
            </a:lvl2pPr>
            <a:lvl3pPr marL="1439979" indent="-239997">
              <a:spcBef>
                <a:spcPts val="0"/>
              </a:spcBef>
              <a:buFont typeface="Wingdings" panose="05000000000000000000" pitchFamily="2" charset="2"/>
              <a:buChar char="§"/>
              <a:defRPr sz="1866">
                <a:solidFill>
                  <a:schemeClr val="tx1"/>
                </a:solidFill>
              </a:defRPr>
            </a:lvl3pPr>
            <a:lvl4pPr>
              <a:defRPr sz="1866">
                <a:solidFill>
                  <a:schemeClr val="tx1"/>
                </a:solidFill>
              </a:defRPr>
            </a:lvl4pPr>
            <a:lvl5pPr>
              <a:defRPr sz="1866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A3F00AE2-1760-4A8E-9E28-E05FD932DC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41544257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>
        <p14:flythrough/>
      </p:transition>
    </mc:Choice>
    <mc:Fallback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 &amp; Bild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3B505A4F-7D3B-42FC-8DCA-EC5497C7AEF7}"/>
              </a:ext>
            </a:extLst>
          </p:cNvPr>
          <p:cNvSpPr/>
          <p:nvPr userDrawn="1"/>
        </p:nvSpPr>
        <p:spPr>
          <a:xfrm>
            <a:off x="912286" y="1009650"/>
            <a:ext cx="11279716" cy="48387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9" name="Bildplatzhalter 21">
            <a:extLst>
              <a:ext uri="{FF2B5EF4-FFF2-40B4-BE49-F238E27FC236}">
                <a16:creationId xmlns:a16="http://schemas.microsoft.com/office/drawing/2014/main" id="{7795AC2F-CBA1-4222-B52B-D68E8EDAAEA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20956" y="1016001"/>
            <a:ext cx="11271045" cy="25749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4" name="Grafik 9">
            <a:extLst>
              <a:ext uri="{FF2B5EF4-FFF2-40B4-BE49-F238E27FC236}">
                <a16:creationId xmlns:a16="http://schemas.microsoft.com/office/drawing/2014/main" id="{87FB08AA-E516-0A4A-A21E-573CFDDE58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63851" y="3971987"/>
            <a:ext cx="531963" cy="508000"/>
          </a:xfrm>
          <a:prstGeom prst="rect">
            <a:avLst/>
          </a:prstGeom>
        </p:spPr>
      </p:pic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9CC19695-BF1E-4D40-A7A4-9A19E3812BF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171504" y="3971987"/>
            <a:ext cx="2381448" cy="59042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158" b="1">
                <a:solidFill>
                  <a:schemeClr val="tx1"/>
                </a:solidFill>
              </a:defRPr>
            </a:lvl1pPr>
            <a:lvl2pPr marL="719990" indent="-239997">
              <a:spcBef>
                <a:spcPts val="0"/>
              </a:spcBef>
              <a:defRPr sz="1866">
                <a:solidFill>
                  <a:schemeClr val="tx1"/>
                </a:solidFill>
              </a:defRPr>
            </a:lvl2pPr>
            <a:lvl3pPr marL="1439979" indent="-239997">
              <a:spcBef>
                <a:spcPts val="0"/>
              </a:spcBef>
              <a:buFont typeface="Wingdings" panose="05000000000000000000" pitchFamily="2" charset="2"/>
              <a:buChar char="§"/>
              <a:defRPr sz="1866">
                <a:solidFill>
                  <a:schemeClr val="tx1"/>
                </a:solidFill>
              </a:defRPr>
            </a:lvl3pPr>
            <a:lvl4pPr>
              <a:defRPr sz="1866">
                <a:solidFill>
                  <a:schemeClr val="tx1"/>
                </a:solidFill>
              </a:defRPr>
            </a:lvl4pPr>
            <a:lvl5pPr>
              <a:defRPr sz="1866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Hier eine Überschrift einfügen</a:t>
            </a: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EA82907D-DAAA-7A46-9336-76F36E6154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01919" y="3971985"/>
            <a:ext cx="3309176" cy="1540676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230396" indent="-230396">
              <a:spcBef>
                <a:spcPts val="800"/>
              </a:spcBef>
              <a:spcAft>
                <a:spcPts val="0"/>
              </a:spcAft>
              <a:buFontTx/>
              <a:buBlip>
                <a:blip r:embed="rId4"/>
              </a:buBlip>
              <a:defRPr sz="1438" b="0">
                <a:solidFill>
                  <a:schemeClr val="tx1"/>
                </a:solidFill>
              </a:defRPr>
            </a:lvl1pPr>
            <a:lvl2pPr marL="719990" indent="-239997">
              <a:spcBef>
                <a:spcPts val="0"/>
              </a:spcBef>
              <a:defRPr sz="1866">
                <a:solidFill>
                  <a:schemeClr val="tx1"/>
                </a:solidFill>
              </a:defRPr>
            </a:lvl2pPr>
            <a:lvl3pPr marL="1439979" indent="-239997">
              <a:spcBef>
                <a:spcPts val="0"/>
              </a:spcBef>
              <a:buFont typeface="Wingdings" panose="05000000000000000000" pitchFamily="2" charset="2"/>
              <a:buChar char="§"/>
              <a:defRPr sz="1866">
                <a:solidFill>
                  <a:schemeClr val="tx1"/>
                </a:solidFill>
              </a:defRPr>
            </a:lvl3pPr>
            <a:lvl4pPr>
              <a:defRPr sz="1866">
                <a:solidFill>
                  <a:schemeClr val="tx1"/>
                </a:solidFill>
              </a:defRPr>
            </a:lvl4pPr>
            <a:lvl5pPr>
              <a:defRPr sz="1866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9FBB1583-2824-224E-83B8-EA073C6A1A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557711" y="3971985"/>
            <a:ext cx="3295570" cy="1540676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230396" indent="-230396">
              <a:spcBef>
                <a:spcPts val="800"/>
              </a:spcBef>
              <a:spcAft>
                <a:spcPts val="0"/>
              </a:spcAft>
              <a:buFontTx/>
              <a:buBlip>
                <a:blip r:embed="rId4"/>
              </a:buBlip>
              <a:defRPr sz="1438" b="0">
                <a:solidFill>
                  <a:schemeClr val="tx1"/>
                </a:solidFill>
              </a:defRPr>
            </a:lvl1pPr>
            <a:lvl2pPr marL="719990" indent="-239997">
              <a:spcBef>
                <a:spcPts val="0"/>
              </a:spcBef>
              <a:defRPr sz="1866">
                <a:solidFill>
                  <a:schemeClr val="tx1"/>
                </a:solidFill>
              </a:defRPr>
            </a:lvl2pPr>
            <a:lvl3pPr marL="1439979" indent="-239997">
              <a:spcBef>
                <a:spcPts val="0"/>
              </a:spcBef>
              <a:buFont typeface="Wingdings" panose="05000000000000000000" pitchFamily="2" charset="2"/>
              <a:buChar char="§"/>
              <a:defRPr sz="1866">
                <a:solidFill>
                  <a:schemeClr val="tx1"/>
                </a:solidFill>
              </a:defRPr>
            </a:lvl3pPr>
            <a:lvl4pPr>
              <a:defRPr sz="1866">
                <a:solidFill>
                  <a:schemeClr val="tx1"/>
                </a:solidFill>
              </a:defRPr>
            </a:lvl4pPr>
            <a:lvl5pPr>
              <a:defRPr sz="1866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5F5DC176-7BE9-4F92-BDA6-1DEF3CD64E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3455592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>
        <p14:flythrough/>
      </p:transition>
    </mc:Choice>
    <mc:Fallback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 &amp; Bild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CAF15E4D-60BE-4F06-BFF9-D3166E58232A}"/>
              </a:ext>
            </a:extLst>
          </p:cNvPr>
          <p:cNvSpPr/>
          <p:nvPr userDrawn="1"/>
        </p:nvSpPr>
        <p:spPr>
          <a:xfrm>
            <a:off x="912286" y="1009650"/>
            <a:ext cx="11279716" cy="48387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8" name="Bildplatzhalter 21">
            <a:extLst>
              <a:ext uri="{FF2B5EF4-FFF2-40B4-BE49-F238E27FC236}">
                <a16:creationId xmlns:a16="http://schemas.microsoft.com/office/drawing/2014/main" id="{0145011A-6A29-4C1B-8AC4-465FEC6462A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30733" y="1016000"/>
            <a:ext cx="6761267" cy="4832349"/>
          </a:xfrm>
          <a:custGeom>
            <a:avLst/>
            <a:gdLst>
              <a:gd name="connsiteX0" fmla="*/ 0 w 5070950"/>
              <a:gd name="connsiteY0" fmla="*/ 0 h 3624262"/>
              <a:gd name="connsiteX1" fmla="*/ 5070950 w 5070950"/>
              <a:gd name="connsiteY1" fmla="*/ 0 h 3624262"/>
              <a:gd name="connsiteX2" fmla="*/ 5070950 w 5070950"/>
              <a:gd name="connsiteY2" fmla="*/ 3624262 h 3624262"/>
              <a:gd name="connsiteX3" fmla="*/ 0 w 5070950"/>
              <a:gd name="connsiteY3" fmla="*/ 3624262 h 3624262"/>
              <a:gd name="connsiteX4" fmla="*/ 0 w 5070950"/>
              <a:gd name="connsiteY4" fmla="*/ 0 h 3624262"/>
              <a:gd name="connsiteX0" fmla="*/ 0 w 5070950"/>
              <a:gd name="connsiteY0" fmla="*/ 0 h 3624262"/>
              <a:gd name="connsiteX1" fmla="*/ 5070950 w 5070950"/>
              <a:gd name="connsiteY1" fmla="*/ 0 h 3624262"/>
              <a:gd name="connsiteX2" fmla="*/ 5070950 w 5070950"/>
              <a:gd name="connsiteY2" fmla="*/ 3624262 h 3624262"/>
              <a:gd name="connsiteX3" fmla="*/ 1733550 w 5070950"/>
              <a:gd name="connsiteY3" fmla="*/ 3624262 h 3624262"/>
              <a:gd name="connsiteX4" fmla="*/ 0 w 5070950"/>
              <a:gd name="connsiteY4" fmla="*/ 0 h 3624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70950" h="3624262">
                <a:moveTo>
                  <a:pt x="0" y="0"/>
                </a:moveTo>
                <a:lnTo>
                  <a:pt x="5070950" y="0"/>
                </a:lnTo>
                <a:lnTo>
                  <a:pt x="5070950" y="3624262"/>
                </a:lnTo>
                <a:lnTo>
                  <a:pt x="1733550" y="3624262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422B33E6-C66E-0642-8824-5F9F9706FE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49458" y="1349840"/>
            <a:ext cx="3652461" cy="416282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239997" indent="-239997">
              <a:spcBef>
                <a:spcPts val="800"/>
              </a:spcBef>
              <a:buFontTx/>
              <a:buBlip>
                <a:blip r:embed="rId2"/>
              </a:buBlip>
              <a:defRPr sz="1438">
                <a:solidFill>
                  <a:schemeClr val="tx1"/>
                </a:solidFill>
              </a:defRPr>
            </a:lvl1pPr>
            <a:lvl2pPr marL="719990" indent="-239997">
              <a:spcBef>
                <a:spcPts val="800"/>
              </a:spcBef>
              <a:defRPr sz="1438">
                <a:solidFill>
                  <a:schemeClr val="tx1"/>
                </a:solidFill>
              </a:defRPr>
            </a:lvl2pPr>
            <a:lvl3pPr marL="1439979" indent="-239997">
              <a:spcBef>
                <a:spcPts val="800"/>
              </a:spcBef>
              <a:buFontTx/>
              <a:buBlip>
                <a:blip r:embed="rId2"/>
              </a:buBlip>
              <a:defRPr sz="1438">
                <a:solidFill>
                  <a:schemeClr val="tx1"/>
                </a:solidFill>
              </a:defRPr>
            </a:lvl3pPr>
            <a:lvl4pPr>
              <a:spcBef>
                <a:spcPts val="800"/>
              </a:spcBef>
              <a:defRPr sz="1438">
                <a:solidFill>
                  <a:schemeClr val="tx1"/>
                </a:solidFill>
              </a:defRPr>
            </a:lvl4pPr>
            <a:lvl5pPr>
              <a:defRPr sz="1866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4B67F71B-F595-4649-8D2C-5C49019090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42679952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>
        <p14:flythrough/>
      </p:transition>
    </mc:Choice>
    <mc:Fallback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x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1">
            <a:extLst>
              <a:ext uri="{FF2B5EF4-FFF2-40B4-BE49-F238E27FC236}">
                <a16:creationId xmlns:a16="http://schemas.microsoft.com/office/drawing/2014/main" id="{49F33779-D48C-4918-BFBC-98F9EAB5E27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20956" y="1016000"/>
            <a:ext cx="11271045" cy="4832349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092C23A0-BE19-47B4-87C2-3E85D8F0DE9B}"/>
              </a:ext>
            </a:extLst>
          </p:cNvPr>
          <p:cNvSpPr/>
          <p:nvPr userDrawn="1"/>
        </p:nvSpPr>
        <p:spPr>
          <a:xfrm>
            <a:off x="912286" y="1009650"/>
            <a:ext cx="11279716" cy="4838700"/>
          </a:xfrm>
          <a:prstGeom prst="rect">
            <a:avLst/>
          </a:prstGeom>
          <a:noFill/>
          <a:ln w="63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21" name="Titel 1">
            <a:extLst>
              <a:ext uri="{FF2B5EF4-FFF2-40B4-BE49-F238E27FC236}">
                <a16:creationId xmlns:a16="http://schemas.microsoft.com/office/drawing/2014/main" id="{6162EEA3-EE2C-4CDD-A308-71519187F1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14213068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>
        <p14:flythrough/>
      </p:transition>
    </mc:Choice>
    <mc:Fallback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1 x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21">
            <a:extLst>
              <a:ext uri="{FF2B5EF4-FFF2-40B4-BE49-F238E27FC236}">
                <a16:creationId xmlns:a16="http://schemas.microsoft.com/office/drawing/2014/main" id="{4A277F98-0860-4217-9FE3-212F90CCFF8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" y="0"/>
            <a:ext cx="12192000" cy="5848350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1966675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>
        <p14:flythrough/>
      </p:transition>
    </mc:Choice>
    <mc:Fallback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x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Bildplatzhalter 21">
            <a:extLst>
              <a:ext uri="{FF2B5EF4-FFF2-40B4-BE49-F238E27FC236}">
                <a16:creationId xmlns:a16="http://schemas.microsoft.com/office/drawing/2014/main" id="{83FAB4AF-8D89-4B18-851A-0C3BBBA018E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30733" y="1016000"/>
            <a:ext cx="6761267" cy="4832349"/>
          </a:xfrm>
          <a:custGeom>
            <a:avLst/>
            <a:gdLst>
              <a:gd name="connsiteX0" fmla="*/ 0 w 5070950"/>
              <a:gd name="connsiteY0" fmla="*/ 0 h 3624262"/>
              <a:gd name="connsiteX1" fmla="*/ 5070950 w 5070950"/>
              <a:gd name="connsiteY1" fmla="*/ 0 h 3624262"/>
              <a:gd name="connsiteX2" fmla="*/ 5070950 w 5070950"/>
              <a:gd name="connsiteY2" fmla="*/ 3624262 h 3624262"/>
              <a:gd name="connsiteX3" fmla="*/ 0 w 5070950"/>
              <a:gd name="connsiteY3" fmla="*/ 3624262 h 3624262"/>
              <a:gd name="connsiteX4" fmla="*/ 0 w 5070950"/>
              <a:gd name="connsiteY4" fmla="*/ 0 h 3624262"/>
              <a:gd name="connsiteX0" fmla="*/ 0 w 5070950"/>
              <a:gd name="connsiteY0" fmla="*/ 0 h 3624262"/>
              <a:gd name="connsiteX1" fmla="*/ 5070950 w 5070950"/>
              <a:gd name="connsiteY1" fmla="*/ 0 h 3624262"/>
              <a:gd name="connsiteX2" fmla="*/ 5070950 w 5070950"/>
              <a:gd name="connsiteY2" fmla="*/ 3624262 h 3624262"/>
              <a:gd name="connsiteX3" fmla="*/ 1733550 w 5070950"/>
              <a:gd name="connsiteY3" fmla="*/ 3624262 h 3624262"/>
              <a:gd name="connsiteX4" fmla="*/ 0 w 5070950"/>
              <a:gd name="connsiteY4" fmla="*/ 0 h 3624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70950" h="3624262">
                <a:moveTo>
                  <a:pt x="0" y="0"/>
                </a:moveTo>
                <a:lnTo>
                  <a:pt x="5070950" y="0"/>
                </a:lnTo>
                <a:lnTo>
                  <a:pt x="5070950" y="3624262"/>
                </a:lnTo>
                <a:lnTo>
                  <a:pt x="1733550" y="3624262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4" name="Bildplatzhalter 21">
            <a:extLst>
              <a:ext uri="{FF2B5EF4-FFF2-40B4-BE49-F238E27FC236}">
                <a16:creationId xmlns:a16="http://schemas.microsoft.com/office/drawing/2014/main" id="{DA205671-6F91-451B-93C2-AB36C1D7752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20956" y="1015684"/>
            <a:ext cx="6750892" cy="4832667"/>
          </a:xfrm>
          <a:custGeom>
            <a:avLst/>
            <a:gdLst>
              <a:gd name="connsiteX0" fmla="*/ 0 w 5063169"/>
              <a:gd name="connsiteY0" fmla="*/ 0 h 3624262"/>
              <a:gd name="connsiteX1" fmla="*/ 5063169 w 5063169"/>
              <a:gd name="connsiteY1" fmla="*/ 0 h 3624262"/>
              <a:gd name="connsiteX2" fmla="*/ 5063169 w 5063169"/>
              <a:gd name="connsiteY2" fmla="*/ 3624262 h 3624262"/>
              <a:gd name="connsiteX3" fmla="*/ 0 w 5063169"/>
              <a:gd name="connsiteY3" fmla="*/ 3624262 h 3624262"/>
              <a:gd name="connsiteX4" fmla="*/ 0 w 5063169"/>
              <a:gd name="connsiteY4" fmla="*/ 0 h 3624262"/>
              <a:gd name="connsiteX0" fmla="*/ 0 w 5063169"/>
              <a:gd name="connsiteY0" fmla="*/ 0 h 3624262"/>
              <a:gd name="connsiteX1" fmla="*/ 3336551 w 5063169"/>
              <a:gd name="connsiteY1" fmla="*/ 0 h 3624262"/>
              <a:gd name="connsiteX2" fmla="*/ 5063169 w 5063169"/>
              <a:gd name="connsiteY2" fmla="*/ 3624262 h 3624262"/>
              <a:gd name="connsiteX3" fmla="*/ 0 w 5063169"/>
              <a:gd name="connsiteY3" fmla="*/ 3624262 h 3624262"/>
              <a:gd name="connsiteX4" fmla="*/ 0 w 5063169"/>
              <a:gd name="connsiteY4" fmla="*/ 0 h 3624262"/>
              <a:gd name="connsiteX0" fmla="*/ 0 w 5063169"/>
              <a:gd name="connsiteY0" fmla="*/ 2620 h 3626882"/>
              <a:gd name="connsiteX1" fmla="*/ 3333931 w 5063169"/>
              <a:gd name="connsiteY1" fmla="*/ 0 h 3626882"/>
              <a:gd name="connsiteX2" fmla="*/ 5063169 w 5063169"/>
              <a:gd name="connsiteY2" fmla="*/ 3626882 h 3626882"/>
              <a:gd name="connsiteX3" fmla="*/ 0 w 5063169"/>
              <a:gd name="connsiteY3" fmla="*/ 3626882 h 3626882"/>
              <a:gd name="connsiteX4" fmla="*/ 0 w 5063169"/>
              <a:gd name="connsiteY4" fmla="*/ 2620 h 3626882"/>
              <a:gd name="connsiteX0" fmla="*/ 0 w 5063169"/>
              <a:gd name="connsiteY0" fmla="*/ 2620 h 3626882"/>
              <a:gd name="connsiteX1" fmla="*/ 3328691 w 5063169"/>
              <a:gd name="connsiteY1" fmla="*/ 0 h 3626882"/>
              <a:gd name="connsiteX2" fmla="*/ 5063169 w 5063169"/>
              <a:gd name="connsiteY2" fmla="*/ 3626882 h 3626882"/>
              <a:gd name="connsiteX3" fmla="*/ 0 w 5063169"/>
              <a:gd name="connsiteY3" fmla="*/ 3626882 h 3626882"/>
              <a:gd name="connsiteX4" fmla="*/ 0 w 5063169"/>
              <a:gd name="connsiteY4" fmla="*/ 2620 h 3626882"/>
              <a:gd name="connsiteX0" fmla="*/ 0 w 5063169"/>
              <a:gd name="connsiteY0" fmla="*/ 238 h 3624500"/>
              <a:gd name="connsiteX1" fmla="*/ 3331072 w 5063169"/>
              <a:gd name="connsiteY1" fmla="*/ 0 h 3624500"/>
              <a:gd name="connsiteX2" fmla="*/ 5063169 w 5063169"/>
              <a:gd name="connsiteY2" fmla="*/ 3624500 h 3624500"/>
              <a:gd name="connsiteX3" fmla="*/ 0 w 5063169"/>
              <a:gd name="connsiteY3" fmla="*/ 3624500 h 3624500"/>
              <a:gd name="connsiteX4" fmla="*/ 0 w 5063169"/>
              <a:gd name="connsiteY4" fmla="*/ 238 h 3624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63169" h="3624500">
                <a:moveTo>
                  <a:pt x="0" y="238"/>
                </a:moveTo>
                <a:lnTo>
                  <a:pt x="3331072" y="0"/>
                </a:lnTo>
                <a:lnTo>
                  <a:pt x="5063169" y="3624500"/>
                </a:lnTo>
                <a:lnTo>
                  <a:pt x="0" y="3624500"/>
                </a:lnTo>
                <a:lnTo>
                  <a:pt x="0" y="238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B9C06851-A738-455A-B943-31E540C650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16323692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>
        <p14:flythrough/>
      </p:transition>
    </mc:Choice>
    <mc:Fallback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 x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21">
            <a:extLst>
              <a:ext uri="{FF2B5EF4-FFF2-40B4-BE49-F238E27FC236}">
                <a16:creationId xmlns:a16="http://schemas.microsoft.com/office/drawing/2014/main" id="{DE81FEC8-02C9-459A-BC47-4D4EEBE49B2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" y="-3225"/>
            <a:ext cx="7460889" cy="5851574"/>
          </a:xfrm>
          <a:custGeom>
            <a:avLst/>
            <a:gdLst>
              <a:gd name="connsiteX0" fmla="*/ 0 w 5595667"/>
              <a:gd name="connsiteY0" fmla="*/ 0 h 4386262"/>
              <a:gd name="connsiteX1" fmla="*/ 5595667 w 5595667"/>
              <a:gd name="connsiteY1" fmla="*/ 0 h 4386262"/>
              <a:gd name="connsiteX2" fmla="*/ 5595667 w 5595667"/>
              <a:gd name="connsiteY2" fmla="*/ 4386262 h 4386262"/>
              <a:gd name="connsiteX3" fmla="*/ 0 w 5595667"/>
              <a:gd name="connsiteY3" fmla="*/ 4386262 h 4386262"/>
              <a:gd name="connsiteX4" fmla="*/ 0 w 5595667"/>
              <a:gd name="connsiteY4" fmla="*/ 0 h 4386262"/>
              <a:gd name="connsiteX0" fmla="*/ 0 w 5595667"/>
              <a:gd name="connsiteY0" fmla="*/ 2419 h 4388681"/>
              <a:gd name="connsiteX1" fmla="*/ 3500772 w 5595667"/>
              <a:gd name="connsiteY1" fmla="*/ 0 h 4388681"/>
              <a:gd name="connsiteX2" fmla="*/ 5595667 w 5595667"/>
              <a:gd name="connsiteY2" fmla="*/ 4388681 h 4388681"/>
              <a:gd name="connsiteX3" fmla="*/ 0 w 5595667"/>
              <a:gd name="connsiteY3" fmla="*/ 4388681 h 4388681"/>
              <a:gd name="connsiteX4" fmla="*/ 0 w 5595667"/>
              <a:gd name="connsiteY4" fmla="*/ 2419 h 4388681"/>
              <a:gd name="connsiteX0" fmla="*/ 0 w 5595667"/>
              <a:gd name="connsiteY0" fmla="*/ 2419 h 4388681"/>
              <a:gd name="connsiteX1" fmla="*/ 3495934 w 5595667"/>
              <a:gd name="connsiteY1" fmla="*/ 0 h 4388681"/>
              <a:gd name="connsiteX2" fmla="*/ 5595667 w 5595667"/>
              <a:gd name="connsiteY2" fmla="*/ 4388681 h 4388681"/>
              <a:gd name="connsiteX3" fmla="*/ 0 w 5595667"/>
              <a:gd name="connsiteY3" fmla="*/ 4388681 h 4388681"/>
              <a:gd name="connsiteX4" fmla="*/ 0 w 5595667"/>
              <a:gd name="connsiteY4" fmla="*/ 2419 h 4388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95667" h="4388681">
                <a:moveTo>
                  <a:pt x="0" y="2419"/>
                </a:moveTo>
                <a:lnTo>
                  <a:pt x="3495934" y="0"/>
                </a:lnTo>
                <a:lnTo>
                  <a:pt x="5595667" y="4388681"/>
                </a:lnTo>
                <a:lnTo>
                  <a:pt x="0" y="4388681"/>
                </a:lnTo>
                <a:lnTo>
                  <a:pt x="0" y="2419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7" name="Bildplatzhalter 21">
            <a:extLst>
              <a:ext uri="{FF2B5EF4-FFF2-40B4-BE49-F238E27FC236}">
                <a16:creationId xmlns:a16="http://schemas.microsoft.com/office/drawing/2014/main" id="{28FD84B1-3C5F-4A6E-8F37-DC31AB76CAD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731110" y="0"/>
            <a:ext cx="7460889" cy="5848350"/>
          </a:xfrm>
          <a:custGeom>
            <a:avLst/>
            <a:gdLst>
              <a:gd name="connsiteX0" fmla="*/ 0 w 5595667"/>
              <a:gd name="connsiteY0" fmla="*/ 0 h 4386262"/>
              <a:gd name="connsiteX1" fmla="*/ 5595667 w 5595667"/>
              <a:gd name="connsiteY1" fmla="*/ 0 h 4386262"/>
              <a:gd name="connsiteX2" fmla="*/ 5595667 w 5595667"/>
              <a:gd name="connsiteY2" fmla="*/ 4386262 h 4386262"/>
              <a:gd name="connsiteX3" fmla="*/ 0 w 5595667"/>
              <a:gd name="connsiteY3" fmla="*/ 4386262 h 4386262"/>
              <a:gd name="connsiteX4" fmla="*/ 0 w 5595667"/>
              <a:gd name="connsiteY4" fmla="*/ 0 h 4386262"/>
              <a:gd name="connsiteX0" fmla="*/ 0 w 5595667"/>
              <a:gd name="connsiteY0" fmla="*/ 0 h 4388681"/>
              <a:gd name="connsiteX1" fmla="*/ 5595667 w 5595667"/>
              <a:gd name="connsiteY1" fmla="*/ 0 h 4388681"/>
              <a:gd name="connsiteX2" fmla="*/ 5595667 w 5595667"/>
              <a:gd name="connsiteY2" fmla="*/ 4386262 h 4388681"/>
              <a:gd name="connsiteX3" fmla="*/ 2102152 w 5595667"/>
              <a:gd name="connsiteY3" fmla="*/ 4388681 h 4388681"/>
              <a:gd name="connsiteX4" fmla="*/ 0 w 5595667"/>
              <a:gd name="connsiteY4" fmla="*/ 0 h 4388681"/>
              <a:gd name="connsiteX0" fmla="*/ 0 w 5595667"/>
              <a:gd name="connsiteY0" fmla="*/ 0 h 4386262"/>
              <a:gd name="connsiteX1" fmla="*/ 5595667 w 5595667"/>
              <a:gd name="connsiteY1" fmla="*/ 0 h 4386262"/>
              <a:gd name="connsiteX2" fmla="*/ 5595667 w 5595667"/>
              <a:gd name="connsiteY2" fmla="*/ 4386262 h 4386262"/>
              <a:gd name="connsiteX3" fmla="*/ 2102152 w 5595667"/>
              <a:gd name="connsiteY3" fmla="*/ 4383843 h 4386262"/>
              <a:gd name="connsiteX4" fmla="*/ 0 w 5595667"/>
              <a:gd name="connsiteY4" fmla="*/ 0 h 4386262"/>
              <a:gd name="connsiteX0" fmla="*/ 0 w 5595667"/>
              <a:gd name="connsiteY0" fmla="*/ 0 h 4386262"/>
              <a:gd name="connsiteX1" fmla="*/ 5595667 w 5595667"/>
              <a:gd name="connsiteY1" fmla="*/ 0 h 4386262"/>
              <a:gd name="connsiteX2" fmla="*/ 5595667 w 5595667"/>
              <a:gd name="connsiteY2" fmla="*/ 4386262 h 4386262"/>
              <a:gd name="connsiteX3" fmla="*/ 2102152 w 5595667"/>
              <a:gd name="connsiteY3" fmla="*/ 4386262 h 4386262"/>
              <a:gd name="connsiteX4" fmla="*/ 0 w 5595667"/>
              <a:gd name="connsiteY4" fmla="*/ 0 h 4386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95667" h="4386262">
                <a:moveTo>
                  <a:pt x="0" y="0"/>
                </a:moveTo>
                <a:lnTo>
                  <a:pt x="5595667" y="0"/>
                </a:lnTo>
                <a:lnTo>
                  <a:pt x="5595667" y="4386262"/>
                </a:lnTo>
                <a:lnTo>
                  <a:pt x="2102152" y="4386262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225382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>
        <p14:flythrough/>
      </p:transition>
    </mc:Choice>
    <mc:Fallback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x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Bildplatzhalter 21">
            <a:extLst>
              <a:ext uri="{FF2B5EF4-FFF2-40B4-BE49-F238E27FC236}">
                <a16:creationId xmlns:a16="http://schemas.microsoft.com/office/drawing/2014/main" id="{1E3A6839-94DD-4584-B049-304E6FF1D0F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20956" y="1016000"/>
            <a:ext cx="4864777" cy="4832349"/>
          </a:xfrm>
          <a:custGeom>
            <a:avLst/>
            <a:gdLst>
              <a:gd name="connsiteX0" fmla="*/ 0 w 3648583"/>
              <a:gd name="connsiteY0" fmla="*/ 0 h 3624262"/>
              <a:gd name="connsiteX1" fmla="*/ 3648583 w 3648583"/>
              <a:gd name="connsiteY1" fmla="*/ 0 h 3624262"/>
              <a:gd name="connsiteX2" fmla="*/ 3648583 w 3648583"/>
              <a:gd name="connsiteY2" fmla="*/ 3624262 h 3624262"/>
              <a:gd name="connsiteX3" fmla="*/ 0 w 3648583"/>
              <a:gd name="connsiteY3" fmla="*/ 3624262 h 3624262"/>
              <a:gd name="connsiteX4" fmla="*/ 0 w 3648583"/>
              <a:gd name="connsiteY4" fmla="*/ 0 h 3624262"/>
              <a:gd name="connsiteX0" fmla="*/ 0 w 3648583"/>
              <a:gd name="connsiteY0" fmla="*/ 0 h 3624262"/>
              <a:gd name="connsiteX1" fmla="*/ 1915033 w 3648583"/>
              <a:gd name="connsiteY1" fmla="*/ 0 h 3624262"/>
              <a:gd name="connsiteX2" fmla="*/ 3648583 w 3648583"/>
              <a:gd name="connsiteY2" fmla="*/ 3624262 h 3624262"/>
              <a:gd name="connsiteX3" fmla="*/ 0 w 3648583"/>
              <a:gd name="connsiteY3" fmla="*/ 3624262 h 3624262"/>
              <a:gd name="connsiteX4" fmla="*/ 0 w 3648583"/>
              <a:gd name="connsiteY4" fmla="*/ 0 h 3624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48583" h="3624262">
                <a:moveTo>
                  <a:pt x="0" y="0"/>
                </a:moveTo>
                <a:lnTo>
                  <a:pt x="1915033" y="0"/>
                </a:lnTo>
                <a:lnTo>
                  <a:pt x="3648583" y="3624262"/>
                </a:lnTo>
                <a:lnTo>
                  <a:pt x="0" y="3624262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5" name="Bildplatzhalter 21">
            <a:extLst>
              <a:ext uri="{FF2B5EF4-FFF2-40B4-BE49-F238E27FC236}">
                <a16:creationId xmlns:a16="http://schemas.microsoft.com/office/drawing/2014/main" id="{80DCE87E-665C-4F26-B7E0-9A5523307C8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297909" y="1016000"/>
            <a:ext cx="4894091" cy="4832349"/>
          </a:xfrm>
          <a:custGeom>
            <a:avLst/>
            <a:gdLst>
              <a:gd name="connsiteX0" fmla="*/ 0 w 3670568"/>
              <a:gd name="connsiteY0" fmla="*/ 0 h 3624262"/>
              <a:gd name="connsiteX1" fmla="*/ 3670568 w 3670568"/>
              <a:gd name="connsiteY1" fmla="*/ 0 h 3624262"/>
              <a:gd name="connsiteX2" fmla="*/ 3670568 w 3670568"/>
              <a:gd name="connsiteY2" fmla="*/ 3624262 h 3624262"/>
              <a:gd name="connsiteX3" fmla="*/ 0 w 3670568"/>
              <a:gd name="connsiteY3" fmla="*/ 3624262 h 3624262"/>
              <a:gd name="connsiteX4" fmla="*/ 0 w 3670568"/>
              <a:gd name="connsiteY4" fmla="*/ 0 h 3624262"/>
              <a:gd name="connsiteX0" fmla="*/ 0 w 3670568"/>
              <a:gd name="connsiteY0" fmla="*/ 0 h 3624262"/>
              <a:gd name="connsiteX1" fmla="*/ 3670568 w 3670568"/>
              <a:gd name="connsiteY1" fmla="*/ 0 h 3624262"/>
              <a:gd name="connsiteX2" fmla="*/ 3670568 w 3670568"/>
              <a:gd name="connsiteY2" fmla="*/ 3624262 h 3624262"/>
              <a:gd name="connsiteX3" fmla="*/ 1735931 w 3670568"/>
              <a:gd name="connsiteY3" fmla="*/ 3624262 h 3624262"/>
              <a:gd name="connsiteX4" fmla="*/ 0 w 3670568"/>
              <a:gd name="connsiteY4" fmla="*/ 0 h 3624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70568" h="3624262">
                <a:moveTo>
                  <a:pt x="0" y="0"/>
                </a:moveTo>
                <a:lnTo>
                  <a:pt x="3670568" y="0"/>
                </a:lnTo>
                <a:lnTo>
                  <a:pt x="3670568" y="3624262"/>
                </a:lnTo>
                <a:lnTo>
                  <a:pt x="1735931" y="3624262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7" name="Bildplatzhalter 21">
            <a:extLst>
              <a:ext uri="{FF2B5EF4-FFF2-40B4-BE49-F238E27FC236}">
                <a16:creationId xmlns:a16="http://schemas.microsoft.com/office/drawing/2014/main" id="{C9BA9FBD-B328-45A8-804F-0500B3CD6A5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544619" y="1016000"/>
            <a:ext cx="5994405" cy="4832349"/>
          </a:xfrm>
          <a:custGeom>
            <a:avLst/>
            <a:gdLst>
              <a:gd name="connsiteX0" fmla="*/ 0 w 4495803"/>
              <a:gd name="connsiteY0" fmla="*/ 0 h 3624262"/>
              <a:gd name="connsiteX1" fmla="*/ 4495803 w 4495803"/>
              <a:gd name="connsiteY1" fmla="*/ 0 h 3624262"/>
              <a:gd name="connsiteX2" fmla="*/ 4495803 w 4495803"/>
              <a:gd name="connsiteY2" fmla="*/ 3624262 h 3624262"/>
              <a:gd name="connsiteX3" fmla="*/ 0 w 4495803"/>
              <a:gd name="connsiteY3" fmla="*/ 3624262 h 3624262"/>
              <a:gd name="connsiteX4" fmla="*/ 0 w 4495803"/>
              <a:gd name="connsiteY4" fmla="*/ 0 h 3624262"/>
              <a:gd name="connsiteX0" fmla="*/ 0 w 4495803"/>
              <a:gd name="connsiteY0" fmla="*/ 2381 h 3626643"/>
              <a:gd name="connsiteX1" fmla="*/ 2764634 w 4495803"/>
              <a:gd name="connsiteY1" fmla="*/ 0 h 3626643"/>
              <a:gd name="connsiteX2" fmla="*/ 4495803 w 4495803"/>
              <a:gd name="connsiteY2" fmla="*/ 3626643 h 3626643"/>
              <a:gd name="connsiteX3" fmla="*/ 0 w 4495803"/>
              <a:gd name="connsiteY3" fmla="*/ 3626643 h 3626643"/>
              <a:gd name="connsiteX4" fmla="*/ 0 w 4495803"/>
              <a:gd name="connsiteY4" fmla="*/ 2381 h 3626643"/>
              <a:gd name="connsiteX0" fmla="*/ 0 w 4495803"/>
              <a:gd name="connsiteY0" fmla="*/ 0 h 3624262"/>
              <a:gd name="connsiteX1" fmla="*/ 2762253 w 4495803"/>
              <a:gd name="connsiteY1" fmla="*/ 1 h 3624262"/>
              <a:gd name="connsiteX2" fmla="*/ 4495803 w 4495803"/>
              <a:gd name="connsiteY2" fmla="*/ 3624262 h 3624262"/>
              <a:gd name="connsiteX3" fmla="*/ 0 w 4495803"/>
              <a:gd name="connsiteY3" fmla="*/ 3624262 h 3624262"/>
              <a:gd name="connsiteX4" fmla="*/ 0 w 4495803"/>
              <a:gd name="connsiteY4" fmla="*/ 0 h 3624262"/>
              <a:gd name="connsiteX0" fmla="*/ 0 w 4495803"/>
              <a:gd name="connsiteY0" fmla="*/ 0 h 3624262"/>
              <a:gd name="connsiteX1" fmla="*/ 2762253 w 4495803"/>
              <a:gd name="connsiteY1" fmla="*/ 1 h 3624262"/>
              <a:gd name="connsiteX2" fmla="*/ 4495803 w 4495803"/>
              <a:gd name="connsiteY2" fmla="*/ 3624262 h 3624262"/>
              <a:gd name="connsiteX3" fmla="*/ 1731168 w 4495803"/>
              <a:gd name="connsiteY3" fmla="*/ 3624262 h 3624262"/>
              <a:gd name="connsiteX4" fmla="*/ 0 w 4495803"/>
              <a:gd name="connsiteY4" fmla="*/ 0 h 3624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95803" h="3624262">
                <a:moveTo>
                  <a:pt x="0" y="0"/>
                </a:moveTo>
                <a:lnTo>
                  <a:pt x="2762253" y="1"/>
                </a:lnTo>
                <a:lnTo>
                  <a:pt x="4495803" y="3624262"/>
                </a:lnTo>
                <a:lnTo>
                  <a:pt x="1731168" y="3624262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7775D768-A633-4118-B5C7-2F3DFD9F52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39087020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>
        <p14:flythrough/>
      </p:transition>
    </mc:Choice>
    <mc:Fallback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x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ildplatzhalter 21">
            <a:extLst>
              <a:ext uri="{FF2B5EF4-FFF2-40B4-BE49-F238E27FC236}">
                <a16:creationId xmlns:a16="http://schemas.microsoft.com/office/drawing/2014/main" id="{F6835963-99FF-4A3C-A109-A75FC6EBCFB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20956" y="1015684"/>
            <a:ext cx="6750892" cy="4832667"/>
          </a:xfrm>
          <a:custGeom>
            <a:avLst/>
            <a:gdLst>
              <a:gd name="connsiteX0" fmla="*/ 0 w 5063169"/>
              <a:gd name="connsiteY0" fmla="*/ 0 h 3624262"/>
              <a:gd name="connsiteX1" fmla="*/ 5063169 w 5063169"/>
              <a:gd name="connsiteY1" fmla="*/ 0 h 3624262"/>
              <a:gd name="connsiteX2" fmla="*/ 5063169 w 5063169"/>
              <a:gd name="connsiteY2" fmla="*/ 3624262 h 3624262"/>
              <a:gd name="connsiteX3" fmla="*/ 0 w 5063169"/>
              <a:gd name="connsiteY3" fmla="*/ 3624262 h 3624262"/>
              <a:gd name="connsiteX4" fmla="*/ 0 w 5063169"/>
              <a:gd name="connsiteY4" fmla="*/ 0 h 3624262"/>
              <a:gd name="connsiteX0" fmla="*/ 0 w 5063169"/>
              <a:gd name="connsiteY0" fmla="*/ 0 h 3624262"/>
              <a:gd name="connsiteX1" fmla="*/ 3336551 w 5063169"/>
              <a:gd name="connsiteY1" fmla="*/ 0 h 3624262"/>
              <a:gd name="connsiteX2" fmla="*/ 5063169 w 5063169"/>
              <a:gd name="connsiteY2" fmla="*/ 3624262 h 3624262"/>
              <a:gd name="connsiteX3" fmla="*/ 0 w 5063169"/>
              <a:gd name="connsiteY3" fmla="*/ 3624262 h 3624262"/>
              <a:gd name="connsiteX4" fmla="*/ 0 w 5063169"/>
              <a:gd name="connsiteY4" fmla="*/ 0 h 3624262"/>
              <a:gd name="connsiteX0" fmla="*/ 0 w 5063169"/>
              <a:gd name="connsiteY0" fmla="*/ 2620 h 3626882"/>
              <a:gd name="connsiteX1" fmla="*/ 3333931 w 5063169"/>
              <a:gd name="connsiteY1" fmla="*/ 0 h 3626882"/>
              <a:gd name="connsiteX2" fmla="*/ 5063169 w 5063169"/>
              <a:gd name="connsiteY2" fmla="*/ 3626882 h 3626882"/>
              <a:gd name="connsiteX3" fmla="*/ 0 w 5063169"/>
              <a:gd name="connsiteY3" fmla="*/ 3626882 h 3626882"/>
              <a:gd name="connsiteX4" fmla="*/ 0 w 5063169"/>
              <a:gd name="connsiteY4" fmla="*/ 2620 h 3626882"/>
              <a:gd name="connsiteX0" fmla="*/ 0 w 5063169"/>
              <a:gd name="connsiteY0" fmla="*/ 2620 h 3626882"/>
              <a:gd name="connsiteX1" fmla="*/ 3328691 w 5063169"/>
              <a:gd name="connsiteY1" fmla="*/ 0 h 3626882"/>
              <a:gd name="connsiteX2" fmla="*/ 5063169 w 5063169"/>
              <a:gd name="connsiteY2" fmla="*/ 3626882 h 3626882"/>
              <a:gd name="connsiteX3" fmla="*/ 0 w 5063169"/>
              <a:gd name="connsiteY3" fmla="*/ 3626882 h 3626882"/>
              <a:gd name="connsiteX4" fmla="*/ 0 w 5063169"/>
              <a:gd name="connsiteY4" fmla="*/ 2620 h 3626882"/>
              <a:gd name="connsiteX0" fmla="*/ 0 w 5063169"/>
              <a:gd name="connsiteY0" fmla="*/ 238 h 3624500"/>
              <a:gd name="connsiteX1" fmla="*/ 3331072 w 5063169"/>
              <a:gd name="connsiteY1" fmla="*/ 0 h 3624500"/>
              <a:gd name="connsiteX2" fmla="*/ 5063169 w 5063169"/>
              <a:gd name="connsiteY2" fmla="*/ 3624500 h 3624500"/>
              <a:gd name="connsiteX3" fmla="*/ 0 w 5063169"/>
              <a:gd name="connsiteY3" fmla="*/ 3624500 h 3624500"/>
              <a:gd name="connsiteX4" fmla="*/ 0 w 5063169"/>
              <a:gd name="connsiteY4" fmla="*/ 238 h 3624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63169" h="3624500">
                <a:moveTo>
                  <a:pt x="0" y="238"/>
                </a:moveTo>
                <a:lnTo>
                  <a:pt x="3331072" y="0"/>
                </a:lnTo>
                <a:lnTo>
                  <a:pt x="5063169" y="3624500"/>
                </a:lnTo>
                <a:lnTo>
                  <a:pt x="0" y="3624500"/>
                </a:lnTo>
                <a:lnTo>
                  <a:pt x="0" y="238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0" name="Bildplatzhalter 21">
            <a:extLst>
              <a:ext uri="{FF2B5EF4-FFF2-40B4-BE49-F238E27FC236}">
                <a16:creationId xmlns:a16="http://schemas.microsoft.com/office/drawing/2014/main" id="{0477E770-F5E0-401B-BCB0-9D9D8A0355C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430733" y="1016001"/>
            <a:ext cx="6761267" cy="2380566"/>
          </a:xfrm>
          <a:custGeom>
            <a:avLst/>
            <a:gdLst>
              <a:gd name="connsiteX0" fmla="*/ 0 w 5070950"/>
              <a:gd name="connsiteY0" fmla="*/ 0 h 1785424"/>
              <a:gd name="connsiteX1" fmla="*/ 5070950 w 5070950"/>
              <a:gd name="connsiteY1" fmla="*/ 0 h 1785424"/>
              <a:gd name="connsiteX2" fmla="*/ 5070950 w 5070950"/>
              <a:gd name="connsiteY2" fmla="*/ 1785424 h 1785424"/>
              <a:gd name="connsiteX3" fmla="*/ 0 w 5070950"/>
              <a:gd name="connsiteY3" fmla="*/ 1785424 h 1785424"/>
              <a:gd name="connsiteX4" fmla="*/ 0 w 5070950"/>
              <a:gd name="connsiteY4" fmla="*/ 0 h 1785424"/>
              <a:gd name="connsiteX0" fmla="*/ 0 w 5070950"/>
              <a:gd name="connsiteY0" fmla="*/ 0 h 1785424"/>
              <a:gd name="connsiteX1" fmla="*/ 5070950 w 5070950"/>
              <a:gd name="connsiteY1" fmla="*/ 0 h 1785424"/>
              <a:gd name="connsiteX2" fmla="*/ 5070950 w 5070950"/>
              <a:gd name="connsiteY2" fmla="*/ 1785424 h 1785424"/>
              <a:gd name="connsiteX3" fmla="*/ 854869 w 5070950"/>
              <a:gd name="connsiteY3" fmla="*/ 1785424 h 1785424"/>
              <a:gd name="connsiteX4" fmla="*/ 0 w 5070950"/>
              <a:gd name="connsiteY4" fmla="*/ 0 h 17854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70950" h="1785424">
                <a:moveTo>
                  <a:pt x="0" y="0"/>
                </a:moveTo>
                <a:lnTo>
                  <a:pt x="5070950" y="0"/>
                </a:lnTo>
                <a:lnTo>
                  <a:pt x="5070950" y="1785424"/>
                </a:lnTo>
                <a:lnTo>
                  <a:pt x="854869" y="1785424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1" name="Bildplatzhalter 21">
            <a:extLst>
              <a:ext uri="{FF2B5EF4-FFF2-40B4-BE49-F238E27FC236}">
                <a16:creationId xmlns:a16="http://schemas.microsoft.com/office/drawing/2014/main" id="{338637C0-A93B-4AA6-A323-B2CD84B1C19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600827" y="3461433"/>
            <a:ext cx="5591173" cy="2386917"/>
          </a:xfrm>
          <a:custGeom>
            <a:avLst/>
            <a:gdLst>
              <a:gd name="connsiteX0" fmla="*/ 0 w 3338511"/>
              <a:gd name="connsiteY0" fmla="*/ 0 h 1790188"/>
              <a:gd name="connsiteX1" fmla="*/ 3338511 w 3338511"/>
              <a:gd name="connsiteY1" fmla="*/ 0 h 1790188"/>
              <a:gd name="connsiteX2" fmla="*/ 3338511 w 3338511"/>
              <a:gd name="connsiteY2" fmla="*/ 1790188 h 1790188"/>
              <a:gd name="connsiteX3" fmla="*/ 0 w 3338511"/>
              <a:gd name="connsiteY3" fmla="*/ 1790188 h 1790188"/>
              <a:gd name="connsiteX4" fmla="*/ 0 w 3338511"/>
              <a:gd name="connsiteY4" fmla="*/ 0 h 1790188"/>
              <a:gd name="connsiteX0" fmla="*/ 0 w 4190998"/>
              <a:gd name="connsiteY0" fmla="*/ 2381 h 1790188"/>
              <a:gd name="connsiteX1" fmla="*/ 4190998 w 4190998"/>
              <a:gd name="connsiteY1" fmla="*/ 0 h 1790188"/>
              <a:gd name="connsiteX2" fmla="*/ 4190998 w 4190998"/>
              <a:gd name="connsiteY2" fmla="*/ 1790188 h 1790188"/>
              <a:gd name="connsiteX3" fmla="*/ 852487 w 4190998"/>
              <a:gd name="connsiteY3" fmla="*/ 1790188 h 1790188"/>
              <a:gd name="connsiteX4" fmla="*/ 0 w 4190998"/>
              <a:gd name="connsiteY4" fmla="*/ 2381 h 1790188"/>
              <a:gd name="connsiteX0" fmla="*/ 0 w 4193380"/>
              <a:gd name="connsiteY0" fmla="*/ 0 h 1790188"/>
              <a:gd name="connsiteX1" fmla="*/ 4193380 w 4193380"/>
              <a:gd name="connsiteY1" fmla="*/ 0 h 1790188"/>
              <a:gd name="connsiteX2" fmla="*/ 4193380 w 4193380"/>
              <a:gd name="connsiteY2" fmla="*/ 1790188 h 1790188"/>
              <a:gd name="connsiteX3" fmla="*/ 854869 w 4193380"/>
              <a:gd name="connsiteY3" fmla="*/ 1790188 h 1790188"/>
              <a:gd name="connsiteX4" fmla="*/ 0 w 4193380"/>
              <a:gd name="connsiteY4" fmla="*/ 0 h 1790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93380" h="1790188">
                <a:moveTo>
                  <a:pt x="0" y="0"/>
                </a:moveTo>
                <a:lnTo>
                  <a:pt x="4193380" y="0"/>
                </a:lnTo>
                <a:lnTo>
                  <a:pt x="4193380" y="1790188"/>
                </a:lnTo>
                <a:lnTo>
                  <a:pt x="854869" y="1790188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5" name="Titel 1">
            <a:extLst>
              <a:ext uri="{FF2B5EF4-FFF2-40B4-BE49-F238E27FC236}">
                <a16:creationId xmlns:a16="http://schemas.microsoft.com/office/drawing/2014/main" id="{2A34CF17-47B0-4417-B30F-BDEA62A858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4714856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>
        <p14:flythrough/>
      </p:transition>
    </mc:Choice>
    <mc:Fallback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x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ildplatzhalter 21">
            <a:extLst>
              <a:ext uri="{FF2B5EF4-FFF2-40B4-BE49-F238E27FC236}">
                <a16:creationId xmlns:a16="http://schemas.microsoft.com/office/drawing/2014/main" id="{BCB5A6FE-F83F-481B-A44E-00154892950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20955" y="3461433"/>
            <a:ext cx="4297994" cy="2386917"/>
          </a:xfrm>
          <a:custGeom>
            <a:avLst/>
            <a:gdLst>
              <a:gd name="connsiteX0" fmla="*/ 0 w 3223495"/>
              <a:gd name="connsiteY0" fmla="*/ 0 h 1790188"/>
              <a:gd name="connsiteX1" fmla="*/ 3223495 w 3223495"/>
              <a:gd name="connsiteY1" fmla="*/ 0 h 1790188"/>
              <a:gd name="connsiteX2" fmla="*/ 3223495 w 3223495"/>
              <a:gd name="connsiteY2" fmla="*/ 1790188 h 1790188"/>
              <a:gd name="connsiteX3" fmla="*/ 0 w 3223495"/>
              <a:gd name="connsiteY3" fmla="*/ 1790188 h 1790188"/>
              <a:gd name="connsiteX4" fmla="*/ 0 w 3223495"/>
              <a:gd name="connsiteY4" fmla="*/ 0 h 1790188"/>
              <a:gd name="connsiteX0" fmla="*/ 0 w 3223495"/>
              <a:gd name="connsiteY0" fmla="*/ 0 h 1790188"/>
              <a:gd name="connsiteX1" fmla="*/ 2371940 w 3223495"/>
              <a:gd name="connsiteY1" fmla="*/ 3142 h 1790188"/>
              <a:gd name="connsiteX2" fmla="*/ 3223495 w 3223495"/>
              <a:gd name="connsiteY2" fmla="*/ 1790188 h 1790188"/>
              <a:gd name="connsiteX3" fmla="*/ 0 w 3223495"/>
              <a:gd name="connsiteY3" fmla="*/ 1790188 h 1790188"/>
              <a:gd name="connsiteX4" fmla="*/ 0 w 3223495"/>
              <a:gd name="connsiteY4" fmla="*/ 0 h 1790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23495" h="1790188">
                <a:moveTo>
                  <a:pt x="0" y="0"/>
                </a:moveTo>
                <a:lnTo>
                  <a:pt x="2371940" y="3142"/>
                </a:lnTo>
                <a:lnTo>
                  <a:pt x="3223495" y="1790188"/>
                </a:lnTo>
                <a:lnTo>
                  <a:pt x="0" y="1790188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4" name="Bildplatzhalter 21">
            <a:extLst>
              <a:ext uri="{FF2B5EF4-FFF2-40B4-BE49-F238E27FC236}">
                <a16:creationId xmlns:a16="http://schemas.microsoft.com/office/drawing/2014/main" id="{B1BB259A-7D20-4F2B-8A88-62215572116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26152" y="1016000"/>
            <a:ext cx="6165848" cy="2380566"/>
          </a:xfrm>
          <a:custGeom>
            <a:avLst/>
            <a:gdLst>
              <a:gd name="connsiteX0" fmla="*/ 0 w 4624386"/>
              <a:gd name="connsiteY0" fmla="*/ 0 h 1785424"/>
              <a:gd name="connsiteX1" fmla="*/ 4624386 w 4624386"/>
              <a:gd name="connsiteY1" fmla="*/ 0 h 1785424"/>
              <a:gd name="connsiteX2" fmla="*/ 4624386 w 4624386"/>
              <a:gd name="connsiteY2" fmla="*/ 1785424 h 1785424"/>
              <a:gd name="connsiteX3" fmla="*/ 0 w 4624386"/>
              <a:gd name="connsiteY3" fmla="*/ 1785424 h 1785424"/>
              <a:gd name="connsiteX4" fmla="*/ 0 w 4624386"/>
              <a:gd name="connsiteY4" fmla="*/ 0 h 1785424"/>
              <a:gd name="connsiteX0" fmla="*/ 0 w 4624386"/>
              <a:gd name="connsiteY0" fmla="*/ 0 h 1785424"/>
              <a:gd name="connsiteX1" fmla="*/ 4624386 w 4624386"/>
              <a:gd name="connsiteY1" fmla="*/ 0 h 1785424"/>
              <a:gd name="connsiteX2" fmla="*/ 4624386 w 4624386"/>
              <a:gd name="connsiteY2" fmla="*/ 1785424 h 1785424"/>
              <a:gd name="connsiteX3" fmla="*/ 854869 w 4624386"/>
              <a:gd name="connsiteY3" fmla="*/ 1785424 h 1785424"/>
              <a:gd name="connsiteX4" fmla="*/ 0 w 4624386"/>
              <a:gd name="connsiteY4" fmla="*/ 0 h 17854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24386" h="1785424">
                <a:moveTo>
                  <a:pt x="0" y="0"/>
                </a:moveTo>
                <a:lnTo>
                  <a:pt x="4624386" y="0"/>
                </a:lnTo>
                <a:lnTo>
                  <a:pt x="4624386" y="1785424"/>
                </a:lnTo>
                <a:lnTo>
                  <a:pt x="854869" y="1785424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5" name="Bildplatzhalter 21">
            <a:extLst>
              <a:ext uri="{FF2B5EF4-FFF2-40B4-BE49-F238E27FC236}">
                <a16:creationId xmlns:a16="http://schemas.microsoft.com/office/drawing/2014/main" id="{D1D97D89-3380-41C0-A5E9-03F9AD14915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20955" y="1016000"/>
            <a:ext cx="6171997" cy="2380566"/>
          </a:xfrm>
          <a:custGeom>
            <a:avLst/>
            <a:gdLst>
              <a:gd name="connsiteX0" fmla="*/ 0 w 4628998"/>
              <a:gd name="connsiteY0" fmla="*/ 0 h 1785424"/>
              <a:gd name="connsiteX1" fmla="*/ 4628998 w 4628998"/>
              <a:gd name="connsiteY1" fmla="*/ 0 h 1785424"/>
              <a:gd name="connsiteX2" fmla="*/ 4628998 w 4628998"/>
              <a:gd name="connsiteY2" fmla="*/ 1785424 h 1785424"/>
              <a:gd name="connsiteX3" fmla="*/ 0 w 4628998"/>
              <a:gd name="connsiteY3" fmla="*/ 1785424 h 1785424"/>
              <a:gd name="connsiteX4" fmla="*/ 0 w 4628998"/>
              <a:gd name="connsiteY4" fmla="*/ 0 h 1785424"/>
              <a:gd name="connsiteX0" fmla="*/ 0 w 4628998"/>
              <a:gd name="connsiteY0" fmla="*/ 0 h 1785424"/>
              <a:gd name="connsiteX1" fmla="*/ 3781273 w 4628998"/>
              <a:gd name="connsiteY1" fmla="*/ 0 h 1785424"/>
              <a:gd name="connsiteX2" fmla="*/ 4628998 w 4628998"/>
              <a:gd name="connsiteY2" fmla="*/ 1785424 h 1785424"/>
              <a:gd name="connsiteX3" fmla="*/ 0 w 4628998"/>
              <a:gd name="connsiteY3" fmla="*/ 1785424 h 1785424"/>
              <a:gd name="connsiteX4" fmla="*/ 0 w 4628998"/>
              <a:gd name="connsiteY4" fmla="*/ 0 h 17854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28998" h="1785424">
                <a:moveTo>
                  <a:pt x="0" y="0"/>
                </a:moveTo>
                <a:lnTo>
                  <a:pt x="3781273" y="0"/>
                </a:lnTo>
                <a:lnTo>
                  <a:pt x="4628998" y="1785424"/>
                </a:lnTo>
                <a:lnTo>
                  <a:pt x="0" y="1785424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6" name="Bildplatzhalter 21">
            <a:extLst>
              <a:ext uri="{FF2B5EF4-FFF2-40B4-BE49-F238E27FC236}">
                <a16:creationId xmlns:a16="http://schemas.microsoft.com/office/drawing/2014/main" id="{2B135A71-655E-43AC-8825-9C0FB6E91C7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159515" y="3461433"/>
            <a:ext cx="4815313" cy="2386917"/>
          </a:xfrm>
          <a:custGeom>
            <a:avLst/>
            <a:gdLst>
              <a:gd name="connsiteX0" fmla="*/ 0 w 3223495"/>
              <a:gd name="connsiteY0" fmla="*/ 0 h 1790188"/>
              <a:gd name="connsiteX1" fmla="*/ 3223495 w 3223495"/>
              <a:gd name="connsiteY1" fmla="*/ 0 h 1790188"/>
              <a:gd name="connsiteX2" fmla="*/ 3223495 w 3223495"/>
              <a:gd name="connsiteY2" fmla="*/ 1790188 h 1790188"/>
              <a:gd name="connsiteX3" fmla="*/ 0 w 3223495"/>
              <a:gd name="connsiteY3" fmla="*/ 1790188 h 1790188"/>
              <a:gd name="connsiteX4" fmla="*/ 0 w 3223495"/>
              <a:gd name="connsiteY4" fmla="*/ 0 h 1790188"/>
              <a:gd name="connsiteX0" fmla="*/ 0 w 4068838"/>
              <a:gd name="connsiteY0" fmla="*/ 2381 h 1790188"/>
              <a:gd name="connsiteX1" fmla="*/ 4068838 w 4068838"/>
              <a:gd name="connsiteY1" fmla="*/ 0 h 1790188"/>
              <a:gd name="connsiteX2" fmla="*/ 4068838 w 4068838"/>
              <a:gd name="connsiteY2" fmla="*/ 1790188 h 1790188"/>
              <a:gd name="connsiteX3" fmla="*/ 845343 w 4068838"/>
              <a:gd name="connsiteY3" fmla="*/ 1790188 h 1790188"/>
              <a:gd name="connsiteX4" fmla="*/ 0 w 4068838"/>
              <a:gd name="connsiteY4" fmla="*/ 2381 h 1790188"/>
              <a:gd name="connsiteX0" fmla="*/ 0 w 4071220"/>
              <a:gd name="connsiteY0" fmla="*/ 2381 h 1790188"/>
              <a:gd name="connsiteX1" fmla="*/ 4071220 w 4071220"/>
              <a:gd name="connsiteY1" fmla="*/ 0 h 1790188"/>
              <a:gd name="connsiteX2" fmla="*/ 4071220 w 4071220"/>
              <a:gd name="connsiteY2" fmla="*/ 1790188 h 1790188"/>
              <a:gd name="connsiteX3" fmla="*/ 847725 w 4071220"/>
              <a:gd name="connsiteY3" fmla="*/ 1790188 h 1790188"/>
              <a:gd name="connsiteX4" fmla="*/ 0 w 4071220"/>
              <a:gd name="connsiteY4" fmla="*/ 2381 h 1790188"/>
              <a:gd name="connsiteX0" fmla="*/ 0 w 4071220"/>
              <a:gd name="connsiteY0" fmla="*/ 0 h 1790188"/>
              <a:gd name="connsiteX1" fmla="*/ 4071220 w 4071220"/>
              <a:gd name="connsiteY1" fmla="*/ 0 h 1790188"/>
              <a:gd name="connsiteX2" fmla="*/ 4071220 w 4071220"/>
              <a:gd name="connsiteY2" fmla="*/ 1790188 h 1790188"/>
              <a:gd name="connsiteX3" fmla="*/ 847725 w 4071220"/>
              <a:gd name="connsiteY3" fmla="*/ 1790188 h 1790188"/>
              <a:gd name="connsiteX4" fmla="*/ 0 w 4071220"/>
              <a:gd name="connsiteY4" fmla="*/ 0 h 1790188"/>
              <a:gd name="connsiteX0" fmla="*/ 0 w 4071220"/>
              <a:gd name="connsiteY0" fmla="*/ 0 h 1790188"/>
              <a:gd name="connsiteX1" fmla="*/ 2761532 w 4071220"/>
              <a:gd name="connsiteY1" fmla="*/ 0 h 1790188"/>
              <a:gd name="connsiteX2" fmla="*/ 4071220 w 4071220"/>
              <a:gd name="connsiteY2" fmla="*/ 1790188 h 1790188"/>
              <a:gd name="connsiteX3" fmla="*/ 847725 w 4071220"/>
              <a:gd name="connsiteY3" fmla="*/ 1790188 h 1790188"/>
              <a:gd name="connsiteX4" fmla="*/ 0 w 4071220"/>
              <a:gd name="connsiteY4" fmla="*/ 0 h 1790188"/>
              <a:gd name="connsiteX0" fmla="*/ 0 w 3616401"/>
              <a:gd name="connsiteY0" fmla="*/ 0 h 1790188"/>
              <a:gd name="connsiteX1" fmla="*/ 2761532 w 3616401"/>
              <a:gd name="connsiteY1" fmla="*/ 0 h 1790188"/>
              <a:gd name="connsiteX2" fmla="*/ 3616401 w 3616401"/>
              <a:gd name="connsiteY2" fmla="*/ 1790188 h 1790188"/>
              <a:gd name="connsiteX3" fmla="*/ 847725 w 3616401"/>
              <a:gd name="connsiteY3" fmla="*/ 1790188 h 1790188"/>
              <a:gd name="connsiteX4" fmla="*/ 0 w 3616401"/>
              <a:gd name="connsiteY4" fmla="*/ 0 h 1790188"/>
              <a:gd name="connsiteX0" fmla="*/ 0 w 3616401"/>
              <a:gd name="connsiteY0" fmla="*/ 0 h 1790188"/>
              <a:gd name="connsiteX1" fmla="*/ 2754157 w 3616401"/>
              <a:gd name="connsiteY1" fmla="*/ 0 h 1790188"/>
              <a:gd name="connsiteX2" fmla="*/ 3616401 w 3616401"/>
              <a:gd name="connsiteY2" fmla="*/ 1790188 h 1790188"/>
              <a:gd name="connsiteX3" fmla="*/ 847725 w 3616401"/>
              <a:gd name="connsiteY3" fmla="*/ 1790188 h 1790188"/>
              <a:gd name="connsiteX4" fmla="*/ 0 w 3616401"/>
              <a:gd name="connsiteY4" fmla="*/ 0 h 1790188"/>
              <a:gd name="connsiteX0" fmla="*/ 0 w 3611485"/>
              <a:gd name="connsiteY0" fmla="*/ 0 h 1790188"/>
              <a:gd name="connsiteX1" fmla="*/ 2754157 w 3611485"/>
              <a:gd name="connsiteY1" fmla="*/ 0 h 1790188"/>
              <a:gd name="connsiteX2" fmla="*/ 3611485 w 3611485"/>
              <a:gd name="connsiteY2" fmla="*/ 1790188 h 1790188"/>
              <a:gd name="connsiteX3" fmla="*/ 847725 w 3611485"/>
              <a:gd name="connsiteY3" fmla="*/ 1790188 h 1790188"/>
              <a:gd name="connsiteX4" fmla="*/ 0 w 3611485"/>
              <a:gd name="connsiteY4" fmla="*/ 0 h 1790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1485" h="1790188">
                <a:moveTo>
                  <a:pt x="0" y="0"/>
                </a:moveTo>
                <a:lnTo>
                  <a:pt x="2754157" y="0"/>
                </a:lnTo>
                <a:lnTo>
                  <a:pt x="3611485" y="1790188"/>
                </a:lnTo>
                <a:lnTo>
                  <a:pt x="847725" y="1790188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7" name="Bildplatzhalter 21">
            <a:extLst>
              <a:ext uri="{FF2B5EF4-FFF2-40B4-BE49-F238E27FC236}">
                <a16:creationId xmlns:a16="http://schemas.microsoft.com/office/drawing/2014/main" id="{DCFB798B-032F-40A6-AE3A-243C82FD9EC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902577" y="3461433"/>
            <a:ext cx="4289425" cy="2386917"/>
          </a:xfrm>
          <a:custGeom>
            <a:avLst/>
            <a:gdLst>
              <a:gd name="connsiteX0" fmla="*/ 0 w 3217069"/>
              <a:gd name="connsiteY0" fmla="*/ 0 h 1790188"/>
              <a:gd name="connsiteX1" fmla="*/ 3217069 w 3217069"/>
              <a:gd name="connsiteY1" fmla="*/ 0 h 1790188"/>
              <a:gd name="connsiteX2" fmla="*/ 3217069 w 3217069"/>
              <a:gd name="connsiteY2" fmla="*/ 1790188 h 1790188"/>
              <a:gd name="connsiteX3" fmla="*/ 0 w 3217069"/>
              <a:gd name="connsiteY3" fmla="*/ 1790188 h 1790188"/>
              <a:gd name="connsiteX4" fmla="*/ 0 w 3217069"/>
              <a:gd name="connsiteY4" fmla="*/ 0 h 1790188"/>
              <a:gd name="connsiteX0" fmla="*/ 0 w 3217069"/>
              <a:gd name="connsiteY0" fmla="*/ 0 h 1790188"/>
              <a:gd name="connsiteX1" fmla="*/ 3217069 w 3217069"/>
              <a:gd name="connsiteY1" fmla="*/ 0 h 1790188"/>
              <a:gd name="connsiteX2" fmla="*/ 3217069 w 3217069"/>
              <a:gd name="connsiteY2" fmla="*/ 1790188 h 1790188"/>
              <a:gd name="connsiteX3" fmla="*/ 852488 w 3217069"/>
              <a:gd name="connsiteY3" fmla="*/ 1790188 h 1790188"/>
              <a:gd name="connsiteX4" fmla="*/ 0 w 3217069"/>
              <a:gd name="connsiteY4" fmla="*/ 0 h 1790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17069" h="1790188">
                <a:moveTo>
                  <a:pt x="0" y="0"/>
                </a:moveTo>
                <a:lnTo>
                  <a:pt x="3217069" y="0"/>
                </a:lnTo>
                <a:lnTo>
                  <a:pt x="3217069" y="1790188"/>
                </a:lnTo>
                <a:lnTo>
                  <a:pt x="852488" y="1790188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4" name="Titel 1">
            <a:extLst>
              <a:ext uri="{FF2B5EF4-FFF2-40B4-BE49-F238E27FC236}">
                <a16:creationId xmlns:a16="http://schemas.microsoft.com/office/drawing/2014/main" id="{3D3AFB44-2835-4DFF-8494-E551BDA84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12415900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>
        <p14:flythrough/>
      </p:transition>
    </mc:Choice>
    <mc:Fallback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 (HL 1-zeil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19210DFC-0BD9-4A14-BA0A-2FF7D6A1E1D3}"/>
              </a:ext>
            </a:extLst>
          </p:cNvPr>
          <p:cNvSpPr/>
          <p:nvPr userDrawn="1"/>
        </p:nvSpPr>
        <p:spPr>
          <a:xfrm>
            <a:off x="0" y="5847568"/>
            <a:ext cx="1136084" cy="101043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58" err="1">
              <a:solidFill>
                <a:schemeClr val="tx1"/>
              </a:solidFill>
            </a:endParaRPr>
          </a:p>
        </p:txBody>
      </p:sp>
      <p:sp>
        <p:nvSpPr>
          <p:cNvPr id="11" name="Bildplatzhalter 12">
            <a:extLst>
              <a:ext uri="{FF2B5EF4-FFF2-40B4-BE49-F238E27FC236}">
                <a16:creationId xmlns:a16="http://schemas.microsoft.com/office/drawing/2014/main" id="{12460F4B-E8C5-4630-A020-1AA387B00DF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1"/>
            <a:ext cx="12192000" cy="5848351"/>
          </a:xfrm>
          <a:prstGeom prst="rect">
            <a:avLst/>
          </a:prstGeom>
          <a:solidFill>
            <a:schemeClr val="tx1"/>
          </a:solidFill>
        </p:spPr>
        <p:txBody>
          <a:bodyPr anchor="ctr" anchorCtr="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B917F288-BD42-4F9B-954C-BBC375689F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7651" y="2072141"/>
            <a:ext cx="2035622" cy="39151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400">
                <a:solidFill>
                  <a:schemeClr val="bg1"/>
                </a:solidFill>
              </a:defRPr>
            </a:lvl3pPr>
            <a:lvl4pPr>
              <a:defRPr sz="2400">
                <a:solidFill>
                  <a:schemeClr val="bg1"/>
                </a:solidFill>
              </a:defRPr>
            </a:lvl4pPr>
            <a:lvl5pPr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Unterüberschrift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8CAE81D3-3AB6-4684-B63D-CCAEFCCBCD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7650" y="928289"/>
            <a:ext cx="8132312" cy="112851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l">
              <a:defRPr sz="7192" b="1">
                <a:solidFill>
                  <a:schemeClr val="bg1"/>
                </a:solidFill>
              </a:defRPr>
            </a:lvl1pPr>
          </a:lstStyle>
          <a:p>
            <a:r>
              <a:rPr lang="de-DE"/>
              <a:t>Einzeilige Überschrift</a:t>
            </a:r>
          </a:p>
        </p:txBody>
      </p:sp>
    </p:spTree>
    <p:extLst>
      <p:ext uri="{BB962C8B-B14F-4D97-AF65-F5344CB8AC3E}">
        <p14:creationId xmlns:p14="http://schemas.microsoft.com/office/powerpoint/2010/main" val="23849117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>
        <p14:flythrough/>
      </p:transition>
    </mc:Choice>
    <mc:Fallback>
      <p:transition>
        <p:fade/>
      </p:transition>
    </mc:Fallback>
  </mc:AlternateContent>
  <p:hf sldNum="0"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leere Folie (ohne Überschrift &amp; Contentbereich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winkliges Dreieck 1">
            <a:extLst>
              <a:ext uri="{FF2B5EF4-FFF2-40B4-BE49-F238E27FC236}">
                <a16:creationId xmlns:a16="http://schemas.microsoft.com/office/drawing/2014/main" id="{6A8FDD1B-3C1E-4FF2-8C55-FD9C0BD96512}"/>
              </a:ext>
            </a:extLst>
          </p:cNvPr>
          <p:cNvSpPr/>
          <p:nvPr userDrawn="1"/>
        </p:nvSpPr>
        <p:spPr>
          <a:xfrm>
            <a:off x="2" y="0"/>
            <a:ext cx="5511800" cy="6858000"/>
          </a:xfrm>
          <a:custGeom>
            <a:avLst/>
            <a:gdLst>
              <a:gd name="connsiteX0" fmla="*/ 0 w 2717800"/>
              <a:gd name="connsiteY0" fmla="*/ 4386262 h 4386262"/>
              <a:gd name="connsiteX1" fmla="*/ 0 w 2717800"/>
              <a:gd name="connsiteY1" fmla="*/ 0 h 4386262"/>
              <a:gd name="connsiteX2" fmla="*/ 2717800 w 2717800"/>
              <a:gd name="connsiteY2" fmla="*/ 4386262 h 4386262"/>
              <a:gd name="connsiteX3" fmla="*/ 0 w 2717800"/>
              <a:gd name="connsiteY3" fmla="*/ 4386262 h 4386262"/>
              <a:gd name="connsiteX0" fmla="*/ 0 w 2717800"/>
              <a:gd name="connsiteY0" fmla="*/ 4386262 h 4386262"/>
              <a:gd name="connsiteX1" fmla="*/ 0 w 2717800"/>
              <a:gd name="connsiteY1" fmla="*/ 0 h 4386262"/>
              <a:gd name="connsiteX2" fmla="*/ 416966 w 2717800"/>
              <a:gd name="connsiteY2" fmla="*/ 676541 h 4386262"/>
              <a:gd name="connsiteX3" fmla="*/ 2717800 w 2717800"/>
              <a:gd name="connsiteY3" fmla="*/ 4386262 h 4386262"/>
              <a:gd name="connsiteX4" fmla="*/ 0 w 2717800"/>
              <a:gd name="connsiteY4" fmla="*/ 4386262 h 4386262"/>
              <a:gd name="connsiteX0" fmla="*/ 0 w 2717800"/>
              <a:gd name="connsiteY0" fmla="*/ 4386262 h 4386262"/>
              <a:gd name="connsiteX1" fmla="*/ 0 w 2717800"/>
              <a:gd name="connsiteY1" fmla="*/ 0 h 4386262"/>
              <a:gd name="connsiteX2" fmla="*/ 687629 w 2717800"/>
              <a:gd name="connsiteY2" fmla="*/ 3543 h 4386262"/>
              <a:gd name="connsiteX3" fmla="*/ 2717800 w 2717800"/>
              <a:gd name="connsiteY3" fmla="*/ 4386262 h 4386262"/>
              <a:gd name="connsiteX4" fmla="*/ 0 w 2717800"/>
              <a:gd name="connsiteY4" fmla="*/ 4386262 h 4386262"/>
              <a:gd name="connsiteX0" fmla="*/ 0 w 3873602"/>
              <a:gd name="connsiteY0" fmla="*/ 4386262 h 4386262"/>
              <a:gd name="connsiteX1" fmla="*/ 0 w 3873602"/>
              <a:gd name="connsiteY1" fmla="*/ 0 h 4386262"/>
              <a:gd name="connsiteX2" fmla="*/ 687629 w 3873602"/>
              <a:gd name="connsiteY2" fmla="*/ 3543 h 4386262"/>
              <a:gd name="connsiteX3" fmla="*/ 3873602 w 3873602"/>
              <a:gd name="connsiteY3" fmla="*/ 4386262 h 4386262"/>
              <a:gd name="connsiteX4" fmla="*/ 0 w 3873602"/>
              <a:gd name="connsiteY4" fmla="*/ 4386262 h 4386262"/>
              <a:gd name="connsiteX0" fmla="*/ 0 w 3873602"/>
              <a:gd name="connsiteY0" fmla="*/ 4386262 h 4386262"/>
              <a:gd name="connsiteX1" fmla="*/ 0 w 3873602"/>
              <a:gd name="connsiteY1" fmla="*/ 0 h 4386262"/>
              <a:gd name="connsiteX2" fmla="*/ 1565453 w 3873602"/>
              <a:gd name="connsiteY2" fmla="*/ 3543 h 4386262"/>
              <a:gd name="connsiteX3" fmla="*/ 3873602 w 3873602"/>
              <a:gd name="connsiteY3" fmla="*/ 4386262 h 4386262"/>
              <a:gd name="connsiteX4" fmla="*/ 0 w 3873602"/>
              <a:gd name="connsiteY4" fmla="*/ 4386262 h 4386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73602" h="4386262">
                <a:moveTo>
                  <a:pt x="0" y="4386262"/>
                </a:moveTo>
                <a:lnTo>
                  <a:pt x="0" y="0"/>
                </a:lnTo>
                <a:lnTo>
                  <a:pt x="1565453" y="3543"/>
                </a:lnTo>
                <a:lnTo>
                  <a:pt x="3873602" y="4386262"/>
                </a:lnTo>
                <a:lnTo>
                  <a:pt x="0" y="438626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 eaLnBrk="1"/>
            <a:endParaRPr lang="de-DE" sz="2400">
              <a:latin typeface="+mj-lt"/>
            </a:endParaRPr>
          </a:p>
        </p:txBody>
      </p:sp>
      <p:sp>
        <p:nvSpPr>
          <p:cNvPr id="5" name="Rechteck 1">
            <a:extLst>
              <a:ext uri="{FF2B5EF4-FFF2-40B4-BE49-F238E27FC236}">
                <a16:creationId xmlns:a16="http://schemas.microsoft.com/office/drawing/2014/main" id="{271C1616-0B5C-4DF7-8B2F-962511F31CE0}"/>
              </a:ext>
            </a:extLst>
          </p:cNvPr>
          <p:cNvSpPr/>
          <p:nvPr userDrawn="1"/>
        </p:nvSpPr>
        <p:spPr>
          <a:xfrm>
            <a:off x="-1717" y="6022400"/>
            <a:ext cx="859887" cy="500919"/>
          </a:xfrm>
          <a:custGeom>
            <a:avLst/>
            <a:gdLst>
              <a:gd name="connsiteX0" fmla="*/ 0 w 407233"/>
              <a:gd name="connsiteY0" fmla="*/ 0 h 374401"/>
              <a:gd name="connsiteX1" fmla="*/ 407233 w 407233"/>
              <a:gd name="connsiteY1" fmla="*/ 0 h 374401"/>
              <a:gd name="connsiteX2" fmla="*/ 407233 w 407233"/>
              <a:gd name="connsiteY2" fmla="*/ 374401 h 374401"/>
              <a:gd name="connsiteX3" fmla="*/ 0 w 407233"/>
              <a:gd name="connsiteY3" fmla="*/ 374401 h 374401"/>
              <a:gd name="connsiteX4" fmla="*/ 0 w 407233"/>
              <a:gd name="connsiteY4" fmla="*/ 0 h 374401"/>
              <a:gd name="connsiteX0" fmla="*/ 0 w 592112"/>
              <a:gd name="connsiteY0" fmla="*/ 0 h 374401"/>
              <a:gd name="connsiteX1" fmla="*/ 592112 w 592112"/>
              <a:gd name="connsiteY1" fmla="*/ 2499 h 374401"/>
              <a:gd name="connsiteX2" fmla="*/ 407233 w 592112"/>
              <a:gd name="connsiteY2" fmla="*/ 374401 h 374401"/>
              <a:gd name="connsiteX3" fmla="*/ 0 w 592112"/>
              <a:gd name="connsiteY3" fmla="*/ 374401 h 374401"/>
              <a:gd name="connsiteX4" fmla="*/ 0 w 592112"/>
              <a:gd name="connsiteY4" fmla="*/ 0 h 374401"/>
              <a:gd name="connsiteX0" fmla="*/ 0 w 643627"/>
              <a:gd name="connsiteY0" fmla="*/ 0 h 374401"/>
              <a:gd name="connsiteX1" fmla="*/ 643627 w 643627"/>
              <a:gd name="connsiteY1" fmla="*/ 2499 h 374401"/>
              <a:gd name="connsiteX2" fmla="*/ 407233 w 643627"/>
              <a:gd name="connsiteY2" fmla="*/ 374401 h 374401"/>
              <a:gd name="connsiteX3" fmla="*/ 0 w 643627"/>
              <a:gd name="connsiteY3" fmla="*/ 374401 h 374401"/>
              <a:gd name="connsiteX4" fmla="*/ 0 w 643627"/>
              <a:gd name="connsiteY4" fmla="*/ 0 h 374401"/>
              <a:gd name="connsiteX0" fmla="*/ 0 w 643627"/>
              <a:gd name="connsiteY0" fmla="*/ 0 h 374401"/>
              <a:gd name="connsiteX1" fmla="*/ 643627 w 643627"/>
              <a:gd name="connsiteY1" fmla="*/ 2499 h 374401"/>
              <a:gd name="connsiteX2" fmla="*/ 453597 w 643627"/>
              <a:gd name="connsiteY2" fmla="*/ 374401 h 374401"/>
              <a:gd name="connsiteX3" fmla="*/ 0 w 643627"/>
              <a:gd name="connsiteY3" fmla="*/ 374401 h 374401"/>
              <a:gd name="connsiteX4" fmla="*/ 0 w 643627"/>
              <a:gd name="connsiteY4" fmla="*/ 0 h 374401"/>
              <a:gd name="connsiteX0" fmla="*/ 0 w 643627"/>
              <a:gd name="connsiteY0" fmla="*/ 0 h 465841"/>
              <a:gd name="connsiteX1" fmla="*/ 643627 w 643627"/>
              <a:gd name="connsiteY1" fmla="*/ 2499 h 465841"/>
              <a:gd name="connsiteX2" fmla="*/ 453597 w 643627"/>
              <a:gd name="connsiteY2" fmla="*/ 374401 h 465841"/>
              <a:gd name="connsiteX3" fmla="*/ 91440 w 643627"/>
              <a:gd name="connsiteY3" fmla="*/ 465841 h 465841"/>
              <a:gd name="connsiteX0" fmla="*/ 1288 w 644915"/>
              <a:gd name="connsiteY0" fmla="*/ 0 h 375689"/>
              <a:gd name="connsiteX1" fmla="*/ 644915 w 644915"/>
              <a:gd name="connsiteY1" fmla="*/ 2499 h 375689"/>
              <a:gd name="connsiteX2" fmla="*/ 454885 w 644915"/>
              <a:gd name="connsiteY2" fmla="*/ 374401 h 375689"/>
              <a:gd name="connsiteX3" fmla="*/ 0 w 644915"/>
              <a:gd name="connsiteY3" fmla="*/ 375689 h 3756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4915" h="375689">
                <a:moveTo>
                  <a:pt x="1288" y="0"/>
                </a:moveTo>
                <a:lnTo>
                  <a:pt x="644915" y="2499"/>
                </a:lnTo>
                <a:lnTo>
                  <a:pt x="454885" y="374401"/>
                </a:lnTo>
                <a:lnTo>
                  <a:pt x="0" y="375689"/>
                </a:lnTo>
              </a:path>
            </a:pathLst>
          </a:custGeom>
          <a:solidFill>
            <a:schemeClr val="bg1"/>
          </a:solidFill>
          <a:ln w="3175">
            <a:noFill/>
          </a:ln>
          <a:effectLst>
            <a:outerShdw blurRad="1905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>
              <a:latin typeface="+mj-lt"/>
            </a:endParaRPr>
          </a:p>
        </p:txBody>
      </p:sp>
      <p:sp>
        <p:nvSpPr>
          <p:cNvPr id="6" name="textBoxPageXFromY">
            <a:extLst>
              <a:ext uri="{FF2B5EF4-FFF2-40B4-BE49-F238E27FC236}">
                <a16:creationId xmlns:a16="http://schemas.microsoft.com/office/drawing/2014/main" id="{4CACF3C0-820D-4E32-A662-70C751300069}"/>
              </a:ext>
            </a:extLst>
          </p:cNvPr>
          <p:cNvSpPr txBox="1">
            <a:spLocks/>
          </p:cNvSpPr>
          <p:nvPr userDrawn="1"/>
        </p:nvSpPr>
        <p:spPr>
          <a:xfrm>
            <a:off x="-1715" y="6104003"/>
            <a:ext cx="712117" cy="36618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89A2F21-4C61-4C7B-ACD9-58995BD3F758}" type="slidenum">
              <a:rPr lang="de-DE" sz="1079" smtClean="0"/>
              <a:t>‹Nr.›</a:t>
            </a:fld>
            <a:endParaRPr lang="de-DE" sz="1079"/>
          </a:p>
        </p:txBody>
      </p:sp>
      <p:sp>
        <p:nvSpPr>
          <p:cNvPr id="16" name="textBoxChangeDate">
            <a:extLst>
              <a:ext uri="{FF2B5EF4-FFF2-40B4-BE49-F238E27FC236}">
                <a16:creationId xmlns:a16="http://schemas.microsoft.com/office/drawing/2014/main" id="{7AA358CF-47E2-4350-8A87-10C0F90A3942}"/>
              </a:ext>
            </a:extLst>
          </p:cNvPr>
          <p:cNvSpPr txBox="1">
            <a:spLocks/>
          </p:cNvSpPr>
          <p:nvPr userDrawn="1"/>
        </p:nvSpPr>
        <p:spPr>
          <a:xfrm>
            <a:off x="1238801" y="6125228"/>
            <a:ext cx="1679947" cy="16607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1079" b="0"/>
              <a:t>Änderungsdatum: 18.07.2018</a:t>
            </a:r>
          </a:p>
        </p:txBody>
      </p:sp>
      <p:sp>
        <p:nvSpPr>
          <p:cNvPr id="17" name="textBoxCreationDate">
            <a:extLst>
              <a:ext uri="{FF2B5EF4-FFF2-40B4-BE49-F238E27FC236}">
                <a16:creationId xmlns:a16="http://schemas.microsoft.com/office/drawing/2014/main" id="{61A5BF2B-5F4A-4028-B56C-44054A65547F}"/>
              </a:ext>
            </a:extLst>
          </p:cNvPr>
          <p:cNvSpPr txBox="1">
            <a:spLocks/>
          </p:cNvSpPr>
          <p:nvPr userDrawn="1"/>
        </p:nvSpPr>
        <p:spPr>
          <a:xfrm>
            <a:off x="1238801" y="6306106"/>
            <a:ext cx="1699183" cy="16607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1079" b="0"/>
              <a:t>Erstellungsdatum: 14.08.2018</a:t>
            </a:r>
          </a:p>
        </p:txBody>
      </p:sp>
      <p:sp>
        <p:nvSpPr>
          <p:cNvPr id="18" name="textBoxUserName">
            <a:extLst>
              <a:ext uri="{FF2B5EF4-FFF2-40B4-BE49-F238E27FC236}">
                <a16:creationId xmlns:a16="http://schemas.microsoft.com/office/drawing/2014/main" id="{3F063445-F6C1-42E3-A8F8-50AC90D511BC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13127" y="6633908"/>
            <a:ext cx="65" cy="12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buClrTx/>
              <a:buFontTx/>
              <a:buNone/>
            </a:pPr>
            <a:endParaRPr lang="de-DE" sz="839"/>
          </a:p>
        </p:txBody>
      </p:sp>
      <p:sp>
        <p:nvSpPr>
          <p:cNvPr id="19" name="textBoxDepartment">
            <a:extLst>
              <a:ext uri="{FF2B5EF4-FFF2-40B4-BE49-F238E27FC236}">
                <a16:creationId xmlns:a16="http://schemas.microsoft.com/office/drawing/2014/main" id="{2214E889-2DC2-4239-9C1F-EB7352E83669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04545" y="6633908"/>
            <a:ext cx="65" cy="12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buClrTx/>
              <a:buFontTx/>
              <a:buNone/>
            </a:pPr>
            <a:endParaRPr lang="de-DE" sz="839"/>
          </a:p>
        </p:txBody>
      </p:sp>
    </p:spTree>
    <p:extLst>
      <p:ext uri="{BB962C8B-B14F-4D97-AF65-F5344CB8AC3E}">
        <p14:creationId xmlns:p14="http://schemas.microsoft.com/office/powerpoint/2010/main" val="26747382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>
        <p14:flythrough/>
      </p:transition>
    </mc:Choice>
    <mc:Fallback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03" y="1904"/>
          <a:ext cx="1904" cy="19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3" y="1904"/>
                        <a:ext cx="1904" cy="190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11225" y="6194167"/>
            <a:ext cx="11765745" cy="129123"/>
          </a:xfrm>
        </p:spPr>
        <p:txBody>
          <a:bodyPr wrap="square" anchor="b" anchorCtr="0">
            <a:spAutoFit/>
          </a:bodyPr>
          <a:lstStyle>
            <a:lvl1pPr>
              <a:lnSpc>
                <a:spcPct val="100000"/>
              </a:lnSpc>
              <a:defRPr sz="839"/>
            </a:lvl1pPr>
            <a:lvl2pPr marL="0" indent="0">
              <a:lnSpc>
                <a:spcPts val="959"/>
              </a:lnSpc>
              <a:buFontTx/>
              <a:buNone/>
              <a:defRPr sz="839"/>
            </a:lvl2pPr>
            <a:lvl3pPr marL="0" indent="0">
              <a:lnSpc>
                <a:spcPts val="959"/>
              </a:lnSpc>
              <a:buFontTx/>
              <a:buNone/>
              <a:defRPr sz="839"/>
            </a:lvl3pPr>
            <a:lvl4pPr marL="0" indent="0">
              <a:lnSpc>
                <a:spcPts val="959"/>
              </a:lnSpc>
              <a:buFontTx/>
              <a:buNone/>
              <a:defRPr sz="839"/>
            </a:lvl4pPr>
            <a:lvl5pPr marL="0" indent="0">
              <a:lnSpc>
                <a:spcPts val="959"/>
              </a:lnSpc>
              <a:buFontTx/>
              <a:buNone/>
              <a:defRPr sz="839"/>
            </a:lvl5pPr>
            <a:lvl6pPr marL="0" indent="0">
              <a:lnSpc>
                <a:spcPts val="959"/>
              </a:lnSpc>
              <a:buFontTx/>
              <a:buNone/>
              <a:defRPr sz="839"/>
            </a:lvl6pPr>
            <a:lvl7pPr marL="0" indent="0">
              <a:lnSpc>
                <a:spcPts val="959"/>
              </a:lnSpc>
              <a:buFontTx/>
              <a:buNone/>
              <a:defRPr sz="839"/>
            </a:lvl7pPr>
            <a:lvl8pPr marL="0" indent="0">
              <a:lnSpc>
                <a:spcPts val="959"/>
              </a:lnSpc>
              <a:buFontTx/>
              <a:buNone/>
              <a:defRPr sz="839"/>
            </a:lvl8pPr>
            <a:lvl9pPr marL="0" indent="0">
              <a:lnSpc>
                <a:spcPts val="959"/>
              </a:lnSpc>
              <a:buFontTx/>
              <a:buNone/>
              <a:defRPr sz="839"/>
            </a:lvl9pPr>
          </a:lstStyle>
          <a:p>
            <a:pPr lvl="0"/>
            <a:r>
              <a:rPr lang="de-DE"/>
              <a:t>Quelle &amp; Fußnoten</a:t>
            </a:r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1C80D1B7-208D-8145-BB40-D0AB602B11C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11225" y="1615550"/>
            <a:ext cx="11765745" cy="452316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5709" indent="-5709">
              <a:spcBef>
                <a:spcPts val="0"/>
              </a:spcBef>
              <a:buClr>
                <a:schemeClr val="bg1"/>
              </a:buClr>
              <a:buSzPct val="25000"/>
              <a:buFont typeface="Systemschrift"/>
              <a:buChar char="­"/>
              <a:tabLst/>
              <a:defRPr sz="2158">
                <a:solidFill>
                  <a:schemeClr val="tx1"/>
                </a:solidFill>
              </a:defRPr>
            </a:lvl1pPr>
            <a:lvl2pPr marL="319693" indent="-213129">
              <a:spcBef>
                <a:spcPts val="0"/>
              </a:spcBef>
              <a:tabLst/>
              <a:defRPr sz="2158">
                <a:solidFill>
                  <a:schemeClr val="tx1"/>
                </a:solidFill>
              </a:defRPr>
            </a:lvl2pPr>
            <a:lvl3pPr marL="534726" indent="-196003">
              <a:spcBef>
                <a:spcPts val="0"/>
              </a:spcBef>
              <a:buSzPct val="120000"/>
              <a:buFont typeface="Arial" panose="020B0604020202020204" pitchFamily="34" charset="0"/>
              <a:buChar char="•"/>
              <a:tabLst/>
              <a:defRPr lang="de-DE" sz="2158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47855" indent="-196003">
              <a:spcBef>
                <a:spcPts val="0"/>
              </a:spcBef>
              <a:tabLst/>
              <a:defRPr lang="de-DE" sz="2158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62886" indent="-190294">
              <a:spcBef>
                <a:spcPts val="0"/>
              </a:spcBef>
              <a:tabLst/>
              <a:defRPr lang="de-DE" sz="2158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7132710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>
        <p14:flythrough/>
      </p:transition>
    </mc:Choice>
    <mc:Fallback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1/2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03" y="1904"/>
          <a:ext cx="1904" cy="19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3" y="1904"/>
                        <a:ext cx="1904" cy="190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3B50739-959F-4BE2-B9E4-FF75EA6ED5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Bildplatzhalter 21">
            <a:extLst>
              <a:ext uri="{FF2B5EF4-FFF2-40B4-BE49-F238E27FC236}">
                <a16:creationId xmlns:a16="http://schemas.microsoft.com/office/drawing/2014/main" id="{A1523B40-F722-4458-A72D-06A80FCF7E2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612652"/>
            <a:ext cx="7148355" cy="4529961"/>
          </a:xfrm>
          <a:custGeom>
            <a:avLst/>
            <a:gdLst>
              <a:gd name="connsiteX0" fmla="*/ 0 w 5063169"/>
              <a:gd name="connsiteY0" fmla="*/ 0 h 3624262"/>
              <a:gd name="connsiteX1" fmla="*/ 5063169 w 5063169"/>
              <a:gd name="connsiteY1" fmla="*/ 0 h 3624262"/>
              <a:gd name="connsiteX2" fmla="*/ 5063169 w 5063169"/>
              <a:gd name="connsiteY2" fmla="*/ 3624262 h 3624262"/>
              <a:gd name="connsiteX3" fmla="*/ 0 w 5063169"/>
              <a:gd name="connsiteY3" fmla="*/ 3624262 h 3624262"/>
              <a:gd name="connsiteX4" fmla="*/ 0 w 5063169"/>
              <a:gd name="connsiteY4" fmla="*/ 0 h 3624262"/>
              <a:gd name="connsiteX0" fmla="*/ 0 w 5063169"/>
              <a:gd name="connsiteY0" fmla="*/ 0 h 3624262"/>
              <a:gd name="connsiteX1" fmla="*/ 3336551 w 5063169"/>
              <a:gd name="connsiteY1" fmla="*/ 0 h 3624262"/>
              <a:gd name="connsiteX2" fmla="*/ 5063169 w 5063169"/>
              <a:gd name="connsiteY2" fmla="*/ 3624262 h 3624262"/>
              <a:gd name="connsiteX3" fmla="*/ 0 w 5063169"/>
              <a:gd name="connsiteY3" fmla="*/ 3624262 h 3624262"/>
              <a:gd name="connsiteX4" fmla="*/ 0 w 5063169"/>
              <a:gd name="connsiteY4" fmla="*/ 0 h 3624262"/>
              <a:gd name="connsiteX0" fmla="*/ 0 w 5063169"/>
              <a:gd name="connsiteY0" fmla="*/ 2620 h 3626882"/>
              <a:gd name="connsiteX1" fmla="*/ 3333931 w 5063169"/>
              <a:gd name="connsiteY1" fmla="*/ 0 h 3626882"/>
              <a:gd name="connsiteX2" fmla="*/ 5063169 w 5063169"/>
              <a:gd name="connsiteY2" fmla="*/ 3626882 h 3626882"/>
              <a:gd name="connsiteX3" fmla="*/ 0 w 5063169"/>
              <a:gd name="connsiteY3" fmla="*/ 3626882 h 3626882"/>
              <a:gd name="connsiteX4" fmla="*/ 0 w 5063169"/>
              <a:gd name="connsiteY4" fmla="*/ 2620 h 3626882"/>
              <a:gd name="connsiteX0" fmla="*/ 0 w 5063169"/>
              <a:gd name="connsiteY0" fmla="*/ 2620 h 3626882"/>
              <a:gd name="connsiteX1" fmla="*/ 3328691 w 5063169"/>
              <a:gd name="connsiteY1" fmla="*/ 0 h 3626882"/>
              <a:gd name="connsiteX2" fmla="*/ 5063169 w 5063169"/>
              <a:gd name="connsiteY2" fmla="*/ 3626882 h 3626882"/>
              <a:gd name="connsiteX3" fmla="*/ 0 w 5063169"/>
              <a:gd name="connsiteY3" fmla="*/ 3626882 h 3626882"/>
              <a:gd name="connsiteX4" fmla="*/ 0 w 5063169"/>
              <a:gd name="connsiteY4" fmla="*/ 2620 h 3626882"/>
              <a:gd name="connsiteX0" fmla="*/ 0 w 5063169"/>
              <a:gd name="connsiteY0" fmla="*/ 238 h 3624500"/>
              <a:gd name="connsiteX1" fmla="*/ 3331072 w 5063169"/>
              <a:gd name="connsiteY1" fmla="*/ 0 h 3624500"/>
              <a:gd name="connsiteX2" fmla="*/ 5063169 w 5063169"/>
              <a:gd name="connsiteY2" fmla="*/ 3624500 h 3624500"/>
              <a:gd name="connsiteX3" fmla="*/ 0 w 5063169"/>
              <a:gd name="connsiteY3" fmla="*/ 3624500 h 3624500"/>
              <a:gd name="connsiteX4" fmla="*/ 0 w 5063169"/>
              <a:gd name="connsiteY4" fmla="*/ 238 h 3624500"/>
              <a:gd name="connsiteX0" fmla="*/ 0 w 5063169"/>
              <a:gd name="connsiteY0" fmla="*/ 2559 h 3626821"/>
              <a:gd name="connsiteX1" fmla="*/ 3528242 w 5063169"/>
              <a:gd name="connsiteY1" fmla="*/ 0 h 3626821"/>
              <a:gd name="connsiteX2" fmla="*/ 5063169 w 5063169"/>
              <a:gd name="connsiteY2" fmla="*/ 3626821 h 3626821"/>
              <a:gd name="connsiteX3" fmla="*/ 0 w 5063169"/>
              <a:gd name="connsiteY3" fmla="*/ 3626821 h 3626821"/>
              <a:gd name="connsiteX4" fmla="*/ 0 w 5063169"/>
              <a:gd name="connsiteY4" fmla="*/ 2559 h 3626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63169" h="3626821">
                <a:moveTo>
                  <a:pt x="0" y="2559"/>
                </a:moveTo>
                <a:lnTo>
                  <a:pt x="3528242" y="0"/>
                </a:lnTo>
                <a:lnTo>
                  <a:pt x="5063169" y="3626821"/>
                </a:lnTo>
                <a:lnTo>
                  <a:pt x="0" y="3626821"/>
                </a:lnTo>
                <a:lnTo>
                  <a:pt x="0" y="2559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Bildplatzhalter 21">
            <a:extLst>
              <a:ext uri="{FF2B5EF4-FFF2-40B4-BE49-F238E27FC236}">
                <a16:creationId xmlns:a16="http://schemas.microsoft.com/office/drawing/2014/main" id="{CD5193FC-E9CA-4155-AD20-B517784930D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043643" y="1612652"/>
            <a:ext cx="7148356" cy="4529961"/>
          </a:xfrm>
          <a:custGeom>
            <a:avLst/>
            <a:gdLst>
              <a:gd name="connsiteX0" fmla="*/ 0 w 5595667"/>
              <a:gd name="connsiteY0" fmla="*/ 0 h 4386262"/>
              <a:gd name="connsiteX1" fmla="*/ 5595667 w 5595667"/>
              <a:gd name="connsiteY1" fmla="*/ 0 h 4386262"/>
              <a:gd name="connsiteX2" fmla="*/ 5595667 w 5595667"/>
              <a:gd name="connsiteY2" fmla="*/ 4386262 h 4386262"/>
              <a:gd name="connsiteX3" fmla="*/ 0 w 5595667"/>
              <a:gd name="connsiteY3" fmla="*/ 4386262 h 4386262"/>
              <a:gd name="connsiteX4" fmla="*/ 0 w 5595667"/>
              <a:gd name="connsiteY4" fmla="*/ 0 h 4386262"/>
              <a:gd name="connsiteX0" fmla="*/ 0 w 5595667"/>
              <a:gd name="connsiteY0" fmla="*/ 0 h 4388681"/>
              <a:gd name="connsiteX1" fmla="*/ 5595667 w 5595667"/>
              <a:gd name="connsiteY1" fmla="*/ 0 h 4388681"/>
              <a:gd name="connsiteX2" fmla="*/ 5595667 w 5595667"/>
              <a:gd name="connsiteY2" fmla="*/ 4386262 h 4388681"/>
              <a:gd name="connsiteX3" fmla="*/ 2102152 w 5595667"/>
              <a:gd name="connsiteY3" fmla="*/ 4388681 h 4388681"/>
              <a:gd name="connsiteX4" fmla="*/ 0 w 5595667"/>
              <a:gd name="connsiteY4" fmla="*/ 0 h 4388681"/>
              <a:gd name="connsiteX0" fmla="*/ 0 w 5595667"/>
              <a:gd name="connsiteY0" fmla="*/ 0 h 4386262"/>
              <a:gd name="connsiteX1" fmla="*/ 5595667 w 5595667"/>
              <a:gd name="connsiteY1" fmla="*/ 0 h 4386262"/>
              <a:gd name="connsiteX2" fmla="*/ 5595667 w 5595667"/>
              <a:gd name="connsiteY2" fmla="*/ 4386262 h 4386262"/>
              <a:gd name="connsiteX3" fmla="*/ 2102152 w 5595667"/>
              <a:gd name="connsiteY3" fmla="*/ 4383843 h 4386262"/>
              <a:gd name="connsiteX4" fmla="*/ 0 w 5595667"/>
              <a:gd name="connsiteY4" fmla="*/ 0 h 4386262"/>
              <a:gd name="connsiteX0" fmla="*/ 0 w 5595667"/>
              <a:gd name="connsiteY0" fmla="*/ 0 h 4386262"/>
              <a:gd name="connsiteX1" fmla="*/ 5595667 w 5595667"/>
              <a:gd name="connsiteY1" fmla="*/ 0 h 4386262"/>
              <a:gd name="connsiteX2" fmla="*/ 5595667 w 5595667"/>
              <a:gd name="connsiteY2" fmla="*/ 4386262 h 4386262"/>
              <a:gd name="connsiteX3" fmla="*/ 2102152 w 5595667"/>
              <a:gd name="connsiteY3" fmla="*/ 4386262 h 4386262"/>
              <a:gd name="connsiteX4" fmla="*/ 0 w 5595667"/>
              <a:gd name="connsiteY4" fmla="*/ 0 h 4386262"/>
              <a:gd name="connsiteX0" fmla="*/ 0 w 5595667"/>
              <a:gd name="connsiteY0" fmla="*/ 0 h 4386262"/>
              <a:gd name="connsiteX1" fmla="*/ 5595667 w 5595667"/>
              <a:gd name="connsiteY1" fmla="*/ 0 h 4386262"/>
              <a:gd name="connsiteX2" fmla="*/ 5595667 w 5595667"/>
              <a:gd name="connsiteY2" fmla="*/ 4386262 h 4386262"/>
              <a:gd name="connsiteX3" fmla="*/ 1694601 w 5595667"/>
              <a:gd name="connsiteY3" fmla="*/ 4386262 h 4386262"/>
              <a:gd name="connsiteX4" fmla="*/ 0 w 5595667"/>
              <a:gd name="connsiteY4" fmla="*/ 0 h 4386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95667" h="4386262">
                <a:moveTo>
                  <a:pt x="0" y="0"/>
                </a:moveTo>
                <a:lnTo>
                  <a:pt x="5595667" y="0"/>
                </a:lnTo>
                <a:lnTo>
                  <a:pt x="5595667" y="4386262"/>
                </a:lnTo>
                <a:lnTo>
                  <a:pt x="1694601" y="4386262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4672321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>
        <p14:flythrough/>
      </p:transition>
    </mc:Choice>
    <mc:Fallback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03" y="1904"/>
          <a:ext cx="1904" cy="19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3" y="1904"/>
                        <a:ext cx="1904" cy="190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11225" y="6194167"/>
            <a:ext cx="11765745" cy="129123"/>
          </a:xfrm>
        </p:spPr>
        <p:txBody>
          <a:bodyPr wrap="square" anchor="b" anchorCtr="0">
            <a:spAutoFit/>
          </a:bodyPr>
          <a:lstStyle>
            <a:lvl1pPr>
              <a:lnSpc>
                <a:spcPct val="100000"/>
              </a:lnSpc>
              <a:defRPr sz="839"/>
            </a:lvl1pPr>
            <a:lvl2pPr marL="0" indent="0">
              <a:lnSpc>
                <a:spcPts val="959"/>
              </a:lnSpc>
              <a:buFontTx/>
              <a:buNone/>
              <a:defRPr sz="839"/>
            </a:lvl2pPr>
            <a:lvl3pPr marL="0" indent="0">
              <a:lnSpc>
                <a:spcPts val="959"/>
              </a:lnSpc>
              <a:buFontTx/>
              <a:buNone/>
              <a:defRPr sz="839"/>
            </a:lvl3pPr>
            <a:lvl4pPr marL="0" indent="0">
              <a:lnSpc>
                <a:spcPts val="959"/>
              </a:lnSpc>
              <a:buFontTx/>
              <a:buNone/>
              <a:defRPr sz="839"/>
            </a:lvl4pPr>
            <a:lvl5pPr marL="0" indent="0">
              <a:lnSpc>
                <a:spcPts val="959"/>
              </a:lnSpc>
              <a:buFontTx/>
              <a:buNone/>
              <a:defRPr sz="839"/>
            </a:lvl5pPr>
            <a:lvl6pPr marL="0" indent="0">
              <a:lnSpc>
                <a:spcPts val="959"/>
              </a:lnSpc>
              <a:buFontTx/>
              <a:buNone/>
              <a:defRPr sz="839"/>
            </a:lvl6pPr>
            <a:lvl7pPr marL="0" indent="0">
              <a:lnSpc>
                <a:spcPts val="959"/>
              </a:lnSpc>
              <a:buFontTx/>
              <a:buNone/>
              <a:defRPr sz="839"/>
            </a:lvl7pPr>
            <a:lvl8pPr marL="0" indent="0">
              <a:lnSpc>
                <a:spcPts val="959"/>
              </a:lnSpc>
              <a:buFontTx/>
              <a:buNone/>
              <a:defRPr sz="839"/>
            </a:lvl8pPr>
            <a:lvl9pPr marL="0" indent="0">
              <a:lnSpc>
                <a:spcPts val="959"/>
              </a:lnSpc>
              <a:buFontTx/>
              <a:buNone/>
              <a:defRPr sz="839"/>
            </a:lvl9pPr>
          </a:lstStyle>
          <a:p>
            <a:pPr lvl="0"/>
            <a:r>
              <a:rPr lang="de-DE"/>
              <a:t>Quelle &amp; Fußnoten</a:t>
            </a:r>
          </a:p>
        </p:txBody>
      </p:sp>
    </p:spTree>
    <p:extLst>
      <p:ext uri="{BB962C8B-B14F-4D97-AF65-F5344CB8AC3E}">
        <p14:creationId xmlns:p14="http://schemas.microsoft.com/office/powerpoint/2010/main" val="42695709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>
        <p14:flythrough/>
      </p:transition>
    </mc:Choice>
    <mc:Fallback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folie (HL 1-zeil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B917F288-BD42-4F9B-954C-BBC375689F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825270" y="2072141"/>
            <a:ext cx="2035622" cy="39151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 algn="r">
              <a:buNone/>
              <a:defRPr sz="2400"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400">
                <a:solidFill>
                  <a:schemeClr val="bg1"/>
                </a:solidFill>
              </a:defRPr>
            </a:lvl3pPr>
            <a:lvl4pPr>
              <a:defRPr sz="2400">
                <a:solidFill>
                  <a:schemeClr val="bg1"/>
                </a:solidFill>
              </a:defRPr>
            </a:lvl4pPr>
            <a:lvl5pPr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Unterüberschrift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8CAE81D3-3AB6-4684-B63D-CCAEFCCBCD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28579" y="928289"/>
            <a:ext cx="8132313" cy="112851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r">
              <a:defRPr sz="7192" b="1">
                <a:solidFill>
                  <a:schemeClr val="tx1"/>
                </a:solidFill>
              </a:defRPr>
            </a:lvl1pPr>
          </a:lstStyle>
          <a:p>
            <a:r>
              <a:rPr lang="de-DE"/>
              <a:t>Einzeilige Überschrift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F9D9D174-3F23-4CB1-A939-0A39EEBF6BF0}"/>
              </a:ext>
            </a:extLst>
          </p:cNvPr>
          <p:cNvSpPr/>
          <p:nvPr userDrawn="1"/>
        </p:nvSpPr>
        <p:spPr>
          <a:xfrm>
            <a:off x="0" y="5847568"/>
            <a:ext cx="1136084" cy="101043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58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83584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>
        <p14:flythrough/>
      </p:transition>
    </mc:Choice>
    <mc:Fallback>
      <p:transition>
        <p:fade/>
      </p:transition>
    </mc:Fallback>
  </mc:AlternateContent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(4 Angab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hteck 29">
            <a:extLst>
              <a:ext uri="{FF2B5EF4-FFF2-40B4-BE49-F238E27FC236}">
                <a16:creationId xmlns:a16="http://schemas.microsoft.com/office/drawing/2014/main" id="{3FA93BF2-B11D-4FC5-9B10-8E083CAFCA12}"/>
              </a:ext>
            </a:extLst>
          </p:cNvPr>
          <p:cNvSpPr/>
          <p:nvPr userDrawn="1"/>
        </p:nvSpPr>
        <p:spPr>
          <a:xfrm>
            <a:off x="912286" y="1009650"/>
            <a:ext cx="11279716" cy="48387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62" name="Textplatzhalter 4">
            <a:extLst>
              <a:ext uri="{FF2B5EF4-FFF2-40B4-BE49-F238E27FC236}">
                <a16:creationId xmlns:a16="http://schemas.microsoft.com/office/drawing/2014/main" id="{04C55368-C9FF-4E80-A821-ECF4B91A34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21683" y="1937091"/>
            <a:ext cx="3467600" cy="25824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78" b="1" i="0" baseline="0"/>
            </a:lvl1pPr>
          </a:lstStyle>
          <a:p>
            <a:pPr lvl="0"/>
            <a:r>
              <a:rPr lang="de-DE" err="1"/>
              <a:t>Agendapunkt</a:t>
            </a:r>
            <a:endParaRPr lang="de-DE"/>
          </a:p>
        </p:txBody>
      </p:sp>
      <p:sp>
        <p:nvSpPr>
          <p:cNvPr id="63" name="Textplatzhalter 4">
            <a:extLst>
              <a:ext uri="{FF2B5EF4-FFF2-40B4-BE49-F238E27FC236}">
                <a16:creationId xmlns:a16="http://schemas.microsoft.com/office/drawing/2014/main" id="{DCA1C46C-FE53-4CB5-983F-95043DD5C2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21683" y="2167567"/>
            <a:ext cx="3467600" cy="25824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78" b="0" i="0" baseline="0"/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Agenda</a:t>
            </a:r>
          </a:p>
        </p:txBody>
      </p:sp>
      <p:sp>
        <p:nvSpPr>
          <p:cNvPr id="69" name="Textplatzhalter 4">
            <a:extLst>
              <a:ext uri="{FF2B5EF4-FFF2-40B4-BE49-F238E27FC236}">
                <a16:creationId xmlns:a16="http://schemas.microsoft.com/office/drawing/2014/main" id="{4C56456F-A842-4673-B9B4-A420E7B2FDE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21683" y="2815050"/>
            <a:ext cx="3467600" cy="25824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78" b="1" i="0" baseline="0"/>
            </a:lvl1pPr>
          </a:lstStyle>
          <a:p>
            <a:pPr lvl="0"/>
            <a:r>
              <a:rPr lang="de-DE" err="1"/>
              <a:t>Agendapunkt</a:t>
            </a:r>
            <a:endParaRPr lang="de-DE"/>
          </a:p>
        </p:txBody>
      </p:sp>
      <p:sp>
        <p:nvSpPr>
          <p:cNvPr id="70" name="Textplatzhalter 4">
            <a:extLst>
              <a:ext uri="{FF2B5EF4-FFF2-40B4-BE49-F238E27FC236}">
                <a16:creationId xmlns:a16="http://schemas.microsoft.com/office/drawing/2014/main" id="{F1B2E5D1-D0D9-4ECD-99C5-A6F97DD19A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683" y="3045527"/>
            <a:ext cx="3467600" cy="25824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78" b="0" i="0" baseline="0"/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Agenda</a:t>
            </a:r>
          </a:p>
        </p:txBody>
      </p:sp>
      <p:sp>
        <p:nvSpPr>
          <p:cNvPr id="71" name="Textplatzhalter 4">
            <a:extLst>
              <a:ext uri="{FF2B5EF4-FFF2-40B4-BE49-F238E27FC236}">
                <a16:creationId xmlns:a16="http://schemas.microsoft.com/office/drawing/2014/main" id="{1108200B-3F4B-4770-9A39-BF274C511B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21683" y="3709754"/>
            <a:ext cx="3467600" cy="25824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78" b="1" i="0" baseline="0"/>
            </a:lvl1pPr>
          </a:lstStyle>
          <a:p>
            <a:pPr lvl="0"/>
            <a:r>
              <a:rPr lang="de-DE" err="1"/>
              <a:t>Agendapunkt</a:t>
            </a:r>
            <a:endParaRPr lang="de-DE"/>
          </a:p>
        </p:txBody>
      </p:sp>
      <p:sp>
        <p:nvSpPr>
          <p:cNvPr id="72" name="Textplatzhalter 4">
            <a:extLst>
              <a:ext uri="{FF2B5EF4-FFF2-40B4-BE49-F238E27FC236}">
                <a16:creationId xmlns:a16="http://schemas.microsoft.com/office/drawing/2014/main" id="{CFEC609D-F72F-4C73-9E59-1A7B68E841B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21683" y="3940231"/>
            <a:ext cx="3467600" cy="25824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78" b="0" i="0" baseline="0"/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Agenda</a:t>
            </a:r>
          </a:p>
        </p:txBody>
      </p:sp>
      <p:sp>
        <p:nvSpPr>
          <p:cNvPr id="28" name="Textplatzhalter 4">
            <a:extLst>
              <a:ext uri="{FF2B5EF4-FFF2-40B4-BE49-F238E27FC236}">
                <a16:creationId xmlns:a16="http://schemas.microsoft.com/office/drawing/2014/main" id="{8EE6C1EE-F60F-40FA-B72A-6452AA8D4D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121683" y="4576135"/>
            <a:ext cx="3467600" cy="25824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78" b="1" i="0" baseline="0"/>
            </a:lvl1pPr>
          </a:lstStyle>
          <a:p>
            <a:pPr lvl="0"/>
            <a:r>
              <a:rPr lang="de-DE" err="1"/>
              <a:t>Agendapunkt</a:t>
            </a:r>
            <a:endParaRPr lang="de-DE"/>
          </a:p>
        </p:txBody>
      </p:sp>
      <p:sp>
        <p:nvSpPr>
          <p:cNvPr id="29" name="Textplatzhalter 4">
            <a:extLst>
              <a:ext uri="{FF2B5EF4-FFF2-40B4-BE49-F238E27FC236}">
                <a16:creationId xmlns:a16="http://schemas.microsoft.com/office/drawing/2014/main" id="{F573C38E-34E1-4D8A-9905-A27FACF9476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121683" y="4806611"/>
            <a:ext cx="3467600" cy="25824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78" b="0" i="0" baseline="0"/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Agenda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FCCD3883-268D-404C-86CD-292C9ED11E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48759" y="1862294"/>
            <a:ext cx="580235" cy="57990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tIns="100800" anchor="ctr"/>
          <a:lstStyle>
            <a:lvl1pPr marL="0" indent="0" algn="ctr">
              <a:buNone/>
              <a:defRPr sz="2158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ABB0FBF2-FB7B-CC4E-9868-95DCE0EE1DD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48759" y="2746908"/>
            <a:ext cx="580235" cy="57990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tIns="100800" anchor="ctr"/>
          <a:lstStyle>
            <a:lvl1pPr marL="0" indent="0" algn="ctr">
              <a:buNone/>
              <a:defRPr sz="2158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2</a:t>
            </a:r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886CE867-369D-594A-99DA-520254F255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48759" y="3631192"/>
            <a:ext cx="580235" cy="57990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tIns="100800" anchor="ctr"/>
          <a:lstStyle>
            <a:lvl1pPr marL="0" indent="0" algn="ctr">
              <a:buNone/>
              <a:defRPr sz="2158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3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B0319E20-2D18-3C4F-B52B-64CF2E678EB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48759" y="4504843"/>
            <a:ext cx="580235" cy="57990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tIns="100800" anchor="ctr"/>
          <a:lstStyle>
            <a:lvl1pPr marL="0" indent="0" algn="ctr">
              <a:buNone/>
              <a:defRPr sz="2158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4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CA541BC4-1640-48BE-BCDB-2C9179F6A8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Agenda (4 Angaben)</a:t>
            </a:r>
          </a:p>
        </p:txBody>
      </p:sp>
      <p:sp>
        <p:nvSpPr>
          <p:cNvPr id="23" name="Bildplatzhalter 21">
            <a:extLst>
              <a:ext uri="{FF2B5EF4-FFF2-40B4-BE49-F238E27FC236}">
                <a16:creationId xmlns:a16="http://schemas.microsoft.com/office/drawing/2014/main" id="{09492F50-300F-4A13-80F4-927498968A2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430733" y="1016000"/>
            <a:ext cx="6761267" cy="4832349"/>
          </a:xfrm>
          <a:custGeom>
            <a:avLst/>
            <a:gdLst>
              <a:gd name="connsiteX0" fmla="*/ 0 w 5070950"/>
              <a:gd name="connsiteY0" fmla="*/ 0 h 3624262"/>
              <a:gd name="connsiteX1" fmla="*/ 5070950 w 5070950"/>
              <a:gd name="connsiteY1" fmla="*/ 0 h 3624262"/>
              <a:gd name="connsiteX2" fmla="*/ 5070950 w 5070950"/>
              <a:gd name="connsiteY2" fmla="*/ 3624262 h 3624262"/>
              <a:gd name="connsiteX3" fmla="*/ 0 w 5070950"/>
              <a:gd name="connsiteY3" fmla="*/ 3624262 h 3624262"/>
              <a:gd name="connsiteX4" fmla="*/ 0 w 5070950"/>
              <a:gd name="connsiteY4" fmla="*/ 0 h 3624262"/>
              <a:gd name="connsiteX0" fmla="*/ 0 w 5070950"/>
              <a:gd name="connsiteY0" fmla="*/ 0 h 3624262"/>
              <a:gd name="connsiteX1" fmla="*/ 5070950 w 5070950"/>
              <a:gd name="connsiteY1" fmla="*/ 0 h 3624262"/>
              <a:gd name="connsiteX2" fmla="*/ 5070950 w 5070950"/>
              <a:gd name="connsiteY2" fmla="*/ 3624262 h 3624262"/>
              <a:gd name="connsiteX3" fmla="*/ 1733550 w 5070950"/>
              <a:gd name="connsiteY3" fmla="*/ 3624262 h 3624262"/>
              <a:gd name="connsiteX4" fmla="*/ 0 w 5070950"/>
              <a:gd name="connsiteY4" fmla="*/ 0 h 3624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70950" h="3624262">
                <a:moveTo>
                  <a:pt x="0" y="0"/>
                </a:moveTo>
                <a:lnTo>
                  <a:pt x="5070950" y="0"/>
                </a:lnTo>
                <a:lnTo>
                  <a:pt x="5070950" y="3624262"/>
                </a:lnTo>
                <a:lnTo>
                  <a:pt x="1733550" y="3624262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0698796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>
        <p14:flythrough/>
      </p:transition>
    </mc:Choice>
    <mc:Fallback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 (3 Angab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platzhalter 4">
            <a:extLst>
              <a:ext uri="{FF2B5EF4-FFF2-40B4-BE49-F238E27FC236}">
                <a16:creationId xmlns:a16="http://schemas.microsoft.com/office/drawing/2014/main" id="{1E149EB0-6633-EC48-8ACA-3E18C574108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749489" y="2298135"/>
            <a:ext cx="4446950" cy="1576476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6401 h 1182357"/>
              <a:gd name="connsiteX1" fmla="*/ 3335212 w 3916237"/>
              <a:gd name="connsiteY1" fmla="*/ 0 h 1182357"/>
              <a:gd name="connsiteX2" fmla="*/ 3916237 w 3916237"/>
              <a:gd name="connsiteY2" fmla="*/ 1182357 h 1182357"/>
              <a:gd name="connsiteX3" fmla="*/ 569704 w 3916237"/>
              <a:gd name="connsiteY3" fmla="*/ 1182357 h 1182357"/>
              <a:gd name="connsiteX4" fmla="*/ 0 w 3916237"/>
              <a:gd name="connsiteY4" fmla="*/ 6401 h 1182357"/>
              <a:gd name="connsiteX0" fmla="*/ 0 w 3335212"/>
              <a:gd name="connsiteY0" fmla="*/ 6401 h 1182357"/>
              <a:gd name="connsiteX1" fmla="*/ 3335212 w 3335212"/>
              <a:gd name="connsiteY1" fmla="*/ 0 h 1182357"/>
              <a:gd name="connsiteX2" fmla="*/ 3328862 w 3335212"/>
              <a:gd name="connsiteY2" fmla="*/ 1182357 h 1182357"/>
              <a:gd name="connsiteX3" fmla="*/ 569704 w 3335212"/>
              <a:gd name="connsiteY3" fmla="*/ 1182357 h 1182357"/>
              <a:gd name="connsiteX4" fmla="*/ 0 w 3335212"/>
              <a:gd name="connsiteY4" fmla="*/ 6401 h 1182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35212" h="1182357">
                <a:moveTo>
                  <a:pt x="0" y="6401"/>
                </a:moveTo>
                <a:lnTo>
                  <a:pt x="3335212" y="0"/>
                </a:lnTo>
                <a:cubicBezTo>
                  <a:pt x="3333095" y="394119"/>
                  <a:pt x="3330979" y="788238"/>
                  <a:pt x="3328862" y="1182357"/>
                </a:cubicBezTo>
                <a:lnTo>
                  <a:pt x="569704" y="1182357"/>
                </a:lnTo>
                <a:lnTo>
                  <a:pt x="0" y="6401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720000" tIns="360000" rIns="0"/>
          <a:lstStyle>
            <a:lvl1pPr marL="0" indent="0">
              <a:buNone/>
              <a:defRPr sz="2158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Agendapunkt</a:t>
            </a:r>
            <a:endParaRPr lang="de-DE"/>
          </a:p>
        </p:txBody>
      </p:sp>
      <p:sp>
        <p:nvSpPr>
          <p:cNvPr id="33" name="Textplatzhalter 4">
            <a:extLst>
              <a:ext uri="{FF2B5EF4-FFF2-40B4-BE49-F238E27FC236}">
                <a16:creationId xmlns:a16="http://schemas.microsoft.com/office/drawing/2014/main" id="{8E38B91A-AA43-3648-99A7-462F2308200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547396" y="3940713"/>
            <a:ext cx="3655315" cy="1568009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51 h 1176007"/>
              <a:gd name="connsiteX1" fmla="*/ 2741487 w 3916237"/>
              <a:gd name="connsiteY1" fmla="*/ 0 h 1176007"/>
              <a:gd name="connsiteX2" fmla="*/ 3916237 w 3916237"/>
              <a:gd name="connsiteY2" fmla="*/ 1176007 h 1176007"/>
              <a:gd name="connsiteX3" fmla="*/ 569704 w 3916237"/>
              <a:gd name="connsiteY3" fmla="*/ 1176007 h 1176007"/>
              <a:gd name="connsiteX4" fmla="*/ 0 w 3916237"/>
              <a:gd name="connsiteY4" fmla="*/ 51 h 1176007"/>
              <a:gd name="connsiteX0" fmla="*/ 0 w 2741487"/>
              <a:gd name="connsiteY0" fmla="*/ 51 h 1176007"/>
              <a:gd name="connsiteX1" fmla="*/ 2741487 w 2741487"/>
              <a:gd name="connsiteY1" fmla="*/ 0 h 1176007"/>
              <a:gd name="connsiteX2" fmla="*/ 2738312 w 2741487"/>
              <a:gd name="connsiteY2" fmla="*/ 1176007 h 1176007"/>
              <a:gd name="connsiteX3" fmla="*/ 569704 w 2741487"/>
              <a:gd name="connsiteY3" fmla="*/ 1176007 h 1176007"/>
              <a:gd name="connsiteX4" fmla="*/ 0 w 2741487"/>
              <a:gd name="connsiteY4" fmla="*/ 51 h 1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41487" h="1176007">
                <a:moveTo>
                  <a:pt x="0" y="51"/>
                </a:moveTo>
                <a:lnTo>
                  <a:pt x="2741487" y="0"/>
                </a:lnTo>
                <a:cubicBezTo>
                  <a:pt x="2740429" y="392002"/>
                  <a:pt x="2739370" y="784005"/>
                  <a:pt x="2738312" y="1176007"/>
                </a:cubicBezTo>
                <a:lnTo>
                  <a:pt x="569704" y="1176007"/>
                </a:lnTo>
                <a:lnTo>
                  <a:pt x="0" y="51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720000" tIns="360000" rIns="0"/>
          <a:lstStyle>
            <a:lvl1pPr marL="0" indent="0">
              <a:buNone/>
              <a:defRPr sz="2158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Agendapunkt</a:t>
            </a:r>
            <a:endParaRPr lang="de-DE"/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D3E47CD0-14B1-6B48-BD37-D5E31D1E7CA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flipH="1">
            <a:off x="7494480" y="2776731"/>
            <a:ext cx="1035435" cy="615465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3356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/>
              <a:t>2</a:t>
            </a:r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4E7FAE09-2E51-9540-9D0C-651412FE99E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 flipH="1">
            <a:off x="8293504" y="4429883"/>
            <a:ext cx="1035435" cy="615465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3356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/>
              <a:t>3</a:t>
            </a:r>
          </a:p>
        </p:txBody>
      </p:sp>
      <p:sp>
        <p:nvSpPr>
          <p:cNvPr id="27" name="Textplatzhalter 4">
            <a:extLst>
              <a:ext uri="{FF2B5EF4-FFF2-40B4-BE49-F238E27FC236}">
                <a16:creationId xmlns:a16="http://schemas.microsoft.com/office/drawing/2014/main" id="{9918EBE0-C521-FC4F-9CC7-C3BC263774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57967" y="659792"/>
            <a:ext cx="5221649" cy="1580709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16237" h="1185532">
                <a:moveTo>
                  <a:pt x="0" y="9576"/>
                </a:moveTo>
                <a:lnTo>
                  <a:pt x="3916237" y="0"/>
                </a:lnTo>
                <a:lnTo>
                  <a:pt x="3916237" y="1185532"/>
                </a:lnTo>
                <a:lnTo>
                  <a:pt x="569704" y="1185532"/>
                </a:lnTo>
                <a:lnTo>
                  <a:pt x="0" y="9576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720000" tIns="360000" rIns="0"/>
          <a:lstStyle>
            <a:lvl1pPr marL="0" indent="0">
              <a:buNone/>
              <a:defRPr sz="2158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Agendapunkt</a:t>
            </a:r>
            <a:endParaRPr lang="de-DE"/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0A5938DA-AB2D-B641-9609-172C5D5F7A7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flipH="1">
            <a:off x="6716122" y="1130467"/>
            <a:ext cx="1035435" cy="615465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3356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44" name="Textplatzhalter 4">
            <a:extLst>
              <a:ext uri="{FF2B5EF4-FFF2-40B4-BE49-F238E27FC236}">
                <a16:creationId xmlns:a16="http://schemas.microsoft.com/office/drawing/2014/main" id="{F5929F82-2F3E-45AC-87CB-3DFE73C8D8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56310" y="1454475"/>
            <a:ext cx="3763622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58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de-DE"/>
          </a:p>
        </p:txBody>
      </p:sp>
      <p:sp>
        <p:nvSpPr>
          <p:cNvPr id="32" name="Textplatzhalter 4">
            <a:extLst>
              <a:ext uri="{FF2B5EF4-FFF2-40B4-BE49-F238E27FC236}">
                <a16:creationId xmlns:a16="http://schemas.microsoft.com/office/drawing/2014/main" id="{CEB501B8-615F-F843-B54D-9920EC14A2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47833" y="3088586"/>
            <a:ext cx="3763622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58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de-DE"/>
          </a:p>
        </p:txBody>
      </p:sp>
      <p:sp>
        <p:nvSpPr>
          <p:cNvPr id="34" name="Textplatzhalter 4">
            <a:extLst>
              <a:ext uri="{FF2B5EF4-FFF2-40B4-BE49-F238E27FC236}">
                <a16:creationId xmlns:a16="http://schemas.microsoft.com/office/drawing/2014/main" id="{C3E9233D-477A-FF44-B2A2-A256EB6A6F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645738" y="4722697"/>
            <a:ext cx="3763622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58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de-DE"/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63344693-5232-46BB-A228-6965BF2E8F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7" y="317115"/>
            <a:ext cx="1145190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Agenda (3 Angaben)</a:t>
            </a:r>
          </a:p>
        </p:txBody>
      </p:sp>
    </p:spTree>
    <p:extLst>
      <p:ext uri="{BB962C8B-B14F-4D97-AF65-F5344CB8AC3E}">
        <p14:creationId xmlns:p14="http://schemas.microsoft.com/office/powerpoint/2010/main" val="25245509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>
        <p14:flythrough/>
      </p:transition>
    </mc:Choice>
    <mc:Fallback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 (4 Angab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platzhalter 4">
            <a:extLst>
              <a:ext uri="{FF2B5EF4-FFF2-40B4-BE49-F238E27FC236}">
                <a16:creationId xmlns:a16="http://schemas.microsoft.com/office/drawing/2014/main" id="{257BECE9-2212-AD4C-9DDC-270418BA645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575968" y="1870100"/>
            <a:ext cx="4620923" cy="1170142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416738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5271 h 1185835"/>
              <a:gd name="connsiteX1" fmla="*/ 3465387 w 3916237"/>
              <a:gd name="connsiteY1" fmla="*/ 0 h 1185835"/>
              <a:gd name="connsiteX2" fmla="*/ 3916237 w 3916237"/>
              <a:gd name="connsiteY2" fmla="*/ 1181227 h 1185835"/>
              <a:gd name="connsiteX3" fmla="*/ 416738 w 3916237"/>
              <a:gd name="connsiteY3" fmla="*/ 1185835 h 1185835"/>
              <a:gd name="connsiteX4" fmla="*/ 0 w 3916237"/>
              <a:gd name="connsiteY4" fmla="*/ 5271 h 1185835"/>
              <a:gd name="connsiteX0" fmla="*/ 0 w 3465387"/>
              <a:gd name="connsiteY0" fmla="*/ 5271 h 1185835"/>
              <a:gd name="connsiteX1" fmla="*/ 3465387 w 3465387"/>
              <a:gd name="connsiteY1" fmla="*/ 0 h 1185835"/>
              <a:gd name="connsiteX2" fmla="*/ 3462212 w 3465387"/>
              <a:gd name="connsiteY2" fmla="*/ 1181227 h 1185835"/>
              <a:gd name="connsiteX3" fmla="*/ 416738 w 3465387"/>
              <a:gd name="connsiteY3" fmla="*/ 1185835 h 1185835"/>
              <a:gd name="connsiteX4" fmla="*/ 0 w 3465387"/>
              <a:gd name="connsiteY4" fmla="*/ 5271 h 1185835"/>
              <a:gd name="connsiteX0" fmla="*/ 0 w 3465692"/>
              <a:gd name="connsiteY0" fmla="*/ 5271 h 1189836"/>
              <a:gd name="connsiteX1" fmla="*/ 3465387 w 3465692"/>
              <a:gd name="connsiteY1" fmla="*/ 0 h 1189836"/>
              <a:gd name="connsiteX2" fmla="*/ 3465387 w 3465692"/>
              <a:gd name="connsiteY2" fmla="*/ 1189836 h 1189836"/>
              <a:gd name="connsiteX3" fmla="*/ 416738 w 3465692"/>
              <a:gd name="connsiteY3" fmla="*/ 1185835 h 1189836"/>
              <a:gd name="connsiteX4" fmla="*/ 0 w 3465692"/>
              <a:gd name="connsiteY4" fmla="*/ 5271 h 1189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65692" h="1189836">
                <a:moveTo>
                  <a:pt x="0" y="5271"/>
                </a:moveTo>
                <a:lnTo>
                  <a:pt x="3465387" y="0"/>
                </a:lnTo>
                <a:cubicBezTo>
                  <a:pt x="3464329" y="393742"/>
                  <a:pt x="3466445" y="796094"/>
                  <a:pt x="3465387" y="1189836"/>
                </a:cubicBezTo>
                <a:lnTo>
                  <a:pt x="416738" y="1185835"/>
                </a:lnTo>
                <a:lnTo>
                  <a:pt x="0" y="5271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630000" tIns="180000" rIns="0"/>
          <a:lstStyle>
            <a:lvl1pPr marL="0" indent="0">
              <a:buNone/>
              <a:defRPr sz="2158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Agendapunkt</a:t>
            </a:r>
            <a:endParaRPr lang="de-DE"/>
          </a:p>
        </p:txBody>
      </p:sp>
      <p:sp>
        <p:nvSpPr>
          <p:cNvPr id="31" name="Textplatzhalter 4">
            <a:extLst>
              <a:ext uri="{FF2B5EF4-FFF2-40B4-BE49-F238E27FC236}">
                <a16:creationId xmlns:a16="http://schemas.microsoft.com/office/drawing/2014/main" id="{58B2995E-B67E-8C40-8046-5108E851D42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57676" y="3113205"/>
            <a:ext cx="4040549" cy="1166208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416738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5271 h 1185835"/>
              <a:gd name="connsiteX1" fmla="*/ 3030412 w 3916237"/>
              <a:gd name="connsiteY1" fmla="*/ 0 h 1185835"/>
              <a:gd name="connsiteX2" fmla="*/ 3916237 w 3916237"/>
              <a:gd name="connsiteY2" fmla="*/ 1181227 h 1185835"/>
              <a:gd name="connsiteX3" fmla="*/ 416738 w 3916237"/>
              <a:gd name="connsiteY3" fmla="*/ 1185835 h 1185835"/>
              <a:gd name="connsiteX4" fmla="*/ 0 w 3916237"/>
              <a:gd name="connsiteY4" fmla="*/ 5271 h 1185835"/>
              <a:gd name="connsiteX0" fmla="*/ 0 w 3030412"/>
              <a:gd name="connsiteY0" fmla="*/ 5271 h 1185835"/>
              <a:gd name="connsiteX1" fmla="*/ 3030412 w 3030412"/>
              <a:gd name="connsiteY1" fmla="*/ 0 h 1185835"/>
              <a:gd name="connsiteX2" fmla="*/ 3027237 w 3030412"/>
              <a:gd name="connsiteY2" fmla="*/ 1181227 h 1185835"/>
              <a:gd name="connsiteX3" fmla="*/ 416738 w 3030412"/>
              <a:gd name="connsiteY3" fmla="*/ 1185835 h 1185835"/>
              <a:gd name="connsiteX4" fmla="*/ 0 w 3030412"/>
              <a:gd name="connsiteY4" fmla="*/ 5271 h 1185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30412" h="1185835">
                <a:moveTo>
                  <a:pt x="0" y="5271"/>
                </a:moveTo>
                <a:lnTo>
                  <a:pt x="3030412" y="0"/>
                </a:lnTo>
                <a:cubicBezTo>
                  <a:pt x="3029354" y="393742"/>
                  <a:pt x="3028295" y="787485"/>
                  <a:pt x="3027237" y="1181227"/>
                </a:cubicBezTo>
                <a:lnTo>
                  <a:pt x="416738" y="1185835"/>
                </a:lnTo>
                <a:lnTo>
                  <a:pt x="0" y="5271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630000" tIns="180000" rIns="0"/>
          <a:lstStyle>
            <a:lvl1pPr marL="0" indent="0">
              <a:buNone/>
              <a:defRPr sz="2158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Agendapunkt</a:t>
            </a:r>
            <a:endParaRPr lang="de-DE"/>
          </a:p>
        </p:txBody>
      </p:sp>
      <p:sp>
        <p:nvSpPr>
          <p:cNvPr id="32" name="Textplatzhalter 4">
            <a:extLst>
              <a:ext uri="{FF2B5EF4-FFF2-40B4-BE49-F238E27FC236}">
                <a16:creationId xmlns:a16="http://schemas.microsoft.com/office/drawing/2014/main" id="{33B1F6F3-7175-2448-BFBB-584C7140D92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739385" y="4344607"/>
            <a:ext cx="3456350" cy="1161975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416738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967 h 1181531"/>
              <a:gd name="connsiteX1" fmla="*/ 2589087 w 3916237"/>
              <a:gd name="connsiteY1" fmla="*/ 0 h 1181531"/>
              <a:gd name="connsiteX2" fmla="*/ 3916237 w 3916237"/>
              <a:gd name="connsiteY2" fmla="*/ 1176923 h 1181531"/>
              <a:gd name="connsiteX3" fmla="*/ 416738 w 3916237"/>
              <a:gd name="connsiteY3" fmla="*/ 1181531 h 1181531"/>
              <a:gd name="connsiteX4" fmla="*/ 0 w 3916237"/>
              <a:gd name="connsiteY4" fmla="*/ 967 h 1181531"/>
              <a:gd name="connsiteX0" fmla="*/ 0 w 2592262"/>
              <a:gd name="connsiteY0" fmla="*/ 967 h 1181531"/>
              <a:gd name="connsiteX1" fmla="*/ 2589087 w 2592262"/>
              <a:gd name="connsiteY1" fmla="*/ 0 h 1181531"/>
              <a:gd name="connsiteX2" fmla="*/ 2592262 w 2592262"/>
              <a:gd name="connsiteY2" fmla="*/ 1181227 h 1181531"/>
              <a:gd name="connsiteX3" fmla="*/ 416738 w 2592262"/>
              <a:gd name="connsiteY3" fmla="*/ 1181531 h 1181531"/>
              <a:gd name="connsiteX4" fmla="*/ 0 w 2592262"/>
              <a:gd name="connsiteY4" fmla="*/ 967 h 1181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92262" h="1181531">
                <a:moveTo>
                  <a:pt x="0" y="967"/>
                </a:moveTo>
                <a:lnTo>
                  <a:pt x="2589087" y="0"/>
                </a:lnTo>
                <a:cubicBezTo>
                  <a:pt x="2590145" y="393742"/>
                  <a:pt x="2591204" y="787485"/>
                  <a:pt x="2592262" y="1181227"/>
                </a:cubicBezTo>
                <a:lnTo>
                  <a:pt x="416738" y="1181531"/>
                </a:lnTo>
                <a:lnTo>
                  <a:pt x="0" y="967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630000" tIns="180000" rIns="0"/>
          <a:lstStyle>
            <a:lvl1pPr marL="0" indent="0">
              <a:buNone/>
              <a:defRPr sz="2158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Agendapunkt</a:t>
            </a:r>
            <a:endParaRPr lang="de-DE"/>
          </a:p>
        </p:txBody>
      </p:sp>
      <p:sp>
        <p:nvSpPr>
          <p:cNvPr id="55" name="Textplatzhalter 4">
            <a:extLst>
              <a:ext uri="{FF2B5EF4-FFF2-40B4-BE49-F238E27FC236}">
                <a16:creationId xmlns:a16="http://schemas.microsoft.com/office/drawing/2014/main" id="{B063F175-38CC-42F7-811C-7040E4C21B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33051" y="2466921"/>
            <a:ext cx="3275833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58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de-DE"/>
          </a:p>
        </p:txBody>
      </p:sp>
      <p:sp>
        <p:nvSpPr>
          <p:cNvPr id="57" name="Textplatzhalter 4">
            <a:extLst>
              <a:ext uri="{FF2B5EF4-FFF2-40B4-BE49-F238E27FC236}">
                <a16:creationId xmlns:a16="http://schemas.microsoft.com/office/drawing/2014/main" id="{40527846-F98C-46C5-8E25-D69AD643D1E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1098" y="3695301"/>
            <a:ext cx="2677787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58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de-DE"/>
          </a:p>
        </p:txBody>
      </p:sp>
      <p:sp>
        <p:nvSpPr>
          <p:cNvPr id="59" name="Textplatzhalter 4">
            <a:extLst>
              <a:ext uri="{FF2B5EF4-FFF2-40B4-BE49-F238E27FC236}">
                <a16:creationId xmlns:a16="http://schemas.microsoft.com/office/drawing/2014/main" id="{06586DCE-E9D8-49C0-ADC2-CF17B03A5ED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715387" y="4927344"/>
            <a:ext cx="2093497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58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de-DE"/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0B975105-8E39-6F40-9E65-900B15813B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>
            <a:off x="7215518" y="2162600"/>
            <a:ext cx="1035435" cy="615465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3356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/>
              <a:t>2</a:t>
            </a:r>
          </a:p>
        </p:txBody>
      </p:sp>
      <p:sp>
        <p:nvSpPr>
          <p:cNvPr id="26" name="Textplatzhalter 4">
            <a:extLst>
              <a:ext uri="{FF2B5EF4-FFF2-40B4-BE49-F238E27FC236}">
                <a16:creationId xmlns:a16="http://schemas.microsoft.com/office/drawing/2014/main" id="{B272CA78-13D4-3E44-B0ED-ADF0A45666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70352" y="646665"/>
            <a:ext cx="5221649" cy="1170442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416738 w 3916237"/>
              <a:gd name="connsiteY3" fmla="*/ 1190140 h 1190140"/>
              <a:gd name="connsiteX4" fmla="*/ 0 w 3916237"/>
              <a:gd name="connsiteY4" fmla="*/ 9576 h 1190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16237" h="1190140">
                <a:moveTo>
                  <a:pt x="0" y="9576"/>
                </a:moveTo>
                <a:lnTo>
                  <a:pt x="3916237" y="0"/>
                </a:lnTo>
                <a:lnTo>
                  <a:pt x="3916237" y="1185532"/>
                </a:lnTo>
                <a:lnTo>
                  <a:pt x="416738" y="1190140"/>
                </a:lnTo>
                <a:lnTo>
                  <a:pt x="0" y="9576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630000" tIns="180000" rIns="0"/>
          <a:lstStyle>
            <a:lvl1pPr marL="0" indent="0">
              <a:buNone/>
              <a:defRPr sz="2158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Agendapunkt</a:t>
            </a:r>
            <a:endParaRPr lang="de-DE"/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5DEBB228-DA77-344D-A819-40450ED2B5D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 flipH="1">
            <a:off x="7793925" y="3369872"/>
            <a:ext cx="1035435" cy="615465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3356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/>
              <a:t>3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AA6868CB-9C37-7647-BD03-F48D0DBABDF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 flipH="1">
            <a:off x="8386305" y="4623514"/>
            <a:ext cx="1035435" cy="615465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3356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/>
              <a:t>4</a:t>
            </a:r>
          </a:p>
        </p:txBody>
      </p:sp>
      <p:sp>
        <p:nvSpPr>
          <p:cNvPr id="53" name="Textplatzhalter 4">
            <a:extLst>
              <a:ext uri="{FF2B5EF4-FFF2-40B4-BE49-F238E27FC236}">
                <a16:creationId xmlns:a16="http://schemas.microsoft.com/office/drawing/2014/main" id="{006E3972-7262-4D2F-A0D2-E9CC9FDA21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38770" y="1217839"/>
            <a:ext cx="3870113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58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de-DE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1D705AF0-DCB7-2D4F-B2F8-2854F8E21A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 flipH="1">
            <a:off x="6602660" y="910106"/>
            <a:ext cx="1035435" cy="615465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3356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AD692422-F2F5-42E1-BB8D-97303CC546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40857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Agenda (4 Angaben)</a:t>
            </a:r>
          </a:p>
        </p:txBody>
      </p:sp>
    </p:spTree>
    <p:extLst>
      <p:ext uri="{BB962C8B-B14F-4D97-AF65-F5344CB8AC3E}">
        <p14:creationId xmlns:p14="http://schemas.microsoft.com/office/powerpoint/2010/main" val="18086666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>
        <p14:flythrough/>
      </p:transition>
    </mc:Choice>
    <mc:Fallback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 (5 Angab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extplatzhalter 4">
            <a:extLst>
              <a:ext uri="{FF2B5EF4-FFF2-40B4-BE49-F238E27FC236}">
                <a16:creationId xmlns:a16="http://schemas.microsoft.com/office/drawing/2014/main" id="{B3E3F257-2EA8-C448-A839-BF9311D7BFF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63263" y="1649891"/>
            <a:ext cx="4740153" cy="915356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416738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318313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3855 h 1184419"/>
              <a:gd name="connsiteX1" fmla="*/ 3555115 w 3916237"/>
              <a:gd name="connsiteY1" fmla="*/ 0 h 1184419"/>
              <a:gd name="connsiteX2" fmla="*/ 3916237 w 3916237"/>
              <a:gd name="connsiteY2" fmla="*/ 1179811 h 1184419"/>
              <a:gd name="connsiteX3" fmla="*/ 318313 w 3916237"/>
              <a:gd name="connsiteY3" fmla="*/ 1184419 h 1184419"/>
              <a:gd name="connsiteX4" fmla="*/ 0 w 3916237"/>
              <a:gd name="connsiteY4" fmla="*/ 3855 h 1184419"/>
              <a:gd name="connsiteX0" fmla="*/ 0 w 3555115"/>
              <a:gd name="connsiteY0" fmla="*/ 3855 h 1185533"/>
              <a:gd name="connsiteX1" fmla="*/ 3555115 w 3555115"/>
              <a:gd name="connsiteY1" fmla="*/ 0 h 1185533"/>
              <a:gd name="connsiteX2" fmla="*/ 3555115 w 3555115"/>
              <a:gd name="connsiteY2" fmla="*/ 1185533 h 1185533"/>
              <a:gd name="connsiteX3" fmla="*/ 318313 w 3555115"/>
              <a:gd name="connsiteY3" fmla="*/ 1184419 h 1185533"/>
              <a:gd name="connsiteX4" fmla="*/ 0 w 3555115"/>
              <a:gd name="connsiteY4" fmla="*/ 3855 h 11855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55115" h="1185533">
                <a:moveTo>
                  <a:pt x="0" y="3855"/>
                </a:moveTo>
                <a:lnTo>
                  <a:pt x="3555115" y="0"/>
                </a:lnTo>
                <a:lnTo>
                  <a:pt x="3555115" y="1185533"/>
                </a:lnTo>
                <a:lnTo>
                  <a:pt x="318313" y="1184419"/>
                </a:lnTo>
                <a:lnTo>
                  <a:pt x="0" y="3855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615600" tIns="97200" rIns="0"/>
          <a:lstStyle>
            <a:lvl1pPr marL="0" indent="0">
              <a:buNone/>
              <a:defRPr sz="2158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Agendapunkt</a:t>
            </a:r>
            <a:endParaRPr lang="de-DE"/>
          </a:p>
        </p:txBody>
      </p:sp>
      <p:sp>
        <p:nvSpPr>
          <p:cNvPr id="40" name="Textplatzhalter 4">
            <a:extLst>
              <a:ext uri="{FF2B5EF4-FFF2-40B4-BE49-F238E27FC236}">
                <a16:creationId xmlns:a16="http://schemas.microsoft.com/office/drawing/2014/main" id="{7E313362-BA83-6D46-A39B-E7A88FBDCDB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928484" y="2632239"/>
            <a:ext cx="4285163" cy="914495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416738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318313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3853 h 1184417"/>
              <a:gd name="connsiteX1" fmla="*/ 3213872 w 3916237"/>
              <a:gd name="connsiteY1" fmla="*/ 0 h 1184417"/>
              <a:gd name="connsiteX2" fmla="*/ 3916237 w 3916237"/>
              <a:gd name="connsiteY2" fmla="*/ 1179809 h 1184417"/>
              <a:gd name="connsiteX3" fmla="*/ 318313 w 3916237"/>
              <a:gd name="connsiteY3" fmla="*/ 1184417 h 1184417"/>
              <a:gd name="connsiteX4" fmla="*/ 0 w 3916237"/>
              <a:gd name="connsiteY4" fmla="*/ 3853 h 1184417"/>
              <a:gd name="connsiteX0" fmla="*/ 0 w 3213872"/>
              <a:gd name="connsiteY0" fmla="*/ 3853 h 1184417"/>
              <a:gd name="connsiteX1" fmla="*/ 3213872 w 3213872"/>
              <a:gd name="connsiteY1" fmla="*/ 0 h 1184417"/>
              <a:gd name="connsiteX2" fmla="*/ 3207246 w 3213872"/>
              <a:gd name="connsiteY2" fmla="*/ 1179810 h 1184417"/>
              <a:gd name="connsiteX3" fmla="*/ 318313 w 3213872"/>
              <a:gd name="connsiteY3" fmla="*/ 1184417 h 1184417"/>
              <a:gd name="connsiteX4" fmla="*/ 0 w 3213872"/>
              <a:gd name="connsiteY4" fmla="*/ 3853 h 11844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13872" h="1184417">
                <a:moveTo>
                  <a:pt x="0" y="3853"/>
                </a:moveTo>
                <a:lnTo>
                  <a:pt x="3213872" y="0"/>
                </a:lnTo>
                <a:cubicBezTo>
                  <a:pt x="3211663" y="393270"/>
                  <a:pt x="3209455" y="786540"/>
                  <a:pt x="3207246" y="1179810"/>
                </a:cubicBezTo>
                <a:lnTo>
                  <a:pt x="318313" y="1184417"/>
                </a:lnTo>
                <a:lnTo>
                  <a:pt x="0" y="3853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615600" tIns="97200" rIns="0"/>
          <a:lstStyle>
            <a:lvl1pPr marL="0" indent="0">
              <a:buNone/>
              <a:defRPr sz="2158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Agendapunkt</a:t>
            </a:r>
            <a:endParaRPr lang="de-DE"/>
          </a:p>
        </p:txBody>
      </p:sp>
      <p:sp>
        <p:nvSpPr>
          <p:cNvPr id="41" name="Textplatzhalter 4">
            <a:extLst>
              <a:ext uri="{FF2B5EF4-FFF2-40B4-BE49-F238E27FC236}">
                <a16:creationId xmlns:a16="http://schemas.microsoft.com/office/drawing/2014/main" id="{D19C2651-89E3-6440-9699-C1764DE7C7A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01725" y="3613726"/>
            <a:ext cx="3808084" cy="914496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416738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318313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3855 h 1184419"/>
              <a:gd name="connsiteX1" fmla="*/ 2856063 w 3916237"/>
              <a:gd name="connsiteY1" fmla="*/ 0 h 1184419"/>
              <a:gd name="connsiteX2" fmla="*/ 3916237 w 3916237"/>
              <a:gd name="connsiteY2" fmla="*/ 1179811 h 1184419"/>
              <a:gd name="connsiteX3" fmla="*/ 318313 w 3916237"/>
              <a:gd name="connsiteY3" fmla="*/ 1184419 h 1184419"/>
              <a:gd name="connsiteX4" fmla="*/ 0 w 3916237"/>
              <a:gd name="connsiteY4" fmla="*/ 3855 h 1184419"/>
              <a:gd name="connsiteX0" fmla="*/ 0 w 2856063"/>
              <a:gd name="connsiteY0" fmla="*/ 3855 h 1184419"/>
              <a:gd name="connsiteX1" fmla="*/ 2856063 w 2856063"/>
              <a:gd name="connsiteY1" fmla="*/ 0 h 1184419"/>
              <a:gd name="connsiteX2" fmla="*/ 2849437 w 2856063"/>
              <a:gd name="connsiteY2" fmla="*/ 1179812 h 1184419"/>
              <a:gd name="connsiteX3" fmla="*/ 318313 w 2856063"/>
              <a:gd name="connsiteY3" fmla="*/ 1184419 h 1184419"/>
              <a:gd name="connsiteX4" fmla="*/ 0 w 2856063"/>
              <a:gd name="connsiteY4" fmla="*/ 3855 h 1184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56063" h="1184419">
                <a:moveTo>
                  <a:pt x="0" y="3855"/>
                </a:moveTo>
                <a:lnTo>
                  <a:pt x="2856063" y="0"/>
                </a:lnTo>
                <a:cubicBezTo>
                  <a:pt x="2853854" y="393271"/>
                  <a:pt x="2851646" y="786541"/>
                  <a:pt x="2849437" y="1179812"/>
                </a:cubicBezTo>
                <a:lnTo>
                  <a:pt x="318313" y="1184419"/>
                </a:lnTo>
                <a:lnTo>
                  <a:pt x="0" y="3855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615600" tIns="97200" rIns="0"/>
          <a:lstStyle>
            <a:lvl1pPr marL="0" indent="0">
              <a:buNone/>
              <a:defRPr sz="2158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Agendapunkt</a:t>
            </a:r>
            <a:endParaRPr lang="de-DE"/>
          </a:p>
        </p:txBody>
      </p:sp>
      <p:sp>
        <p:nvSpPr>
          <p:cNvPr id="42" name="Textplatzhalter 4">
            <a:extLst>
              <a:ext uri="{FF2B5EF4-FFF2-40B4-BE49-F238E27FC236}">
                <a16:creationId xmlns:a16="http://schemas.microsoft.com/office/drawing/2014/main" id="{48A88F9C-03FE-F54F-94D0-1CDBAB5377D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874967" y="4595215"/>
            <a:ext cx="3331005" cy="914496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416738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318313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3855 h 1184419"/>
              <a:gd name="connsiteX1" fmla="*/ 2498254 w 3916237"/>
              <a:gd name="connsiteY1" fmla="*/ 0 h 1184419"/>
              <a:gd name="connsiteX2" fmla="*/ 3916237 w 3916237"/>
              <a:gd name="connsiteY2" fmla="*/ 1179811 h 1184419"/>
              <a:gd name="connsiteX3" fmla="*/ 318313 w 3916237"/>
              <a:gd name="connsiteY3" fmla="*/ 1184419 h 1184419"/>
              <a:gd name="connsiteX4" fmla="*/ 0 w 3916237"/>
              <a:gd name="connsiteY4" fmla="*/ 3855 h 1184419"/>
              <a:gd name="connsiteX0" fmla="*/ 0 w 2498254"/>
              <a:gd name="connsiteY0" fmla="*/ 3855 h 1184419"/>
              <a:gd name="connsiteX1" fmla="*/ 2498254 w 2498254"/>
              <a:gd name="connsiteY1" fmla="*/ 0 h 1184419"/>
              <a:gd name="connsiteX2" fmla="*/ 2494941 w 2498254"/>
              <a:gd name="connsiteY2" fmla="*/ 1179812 h 1184419"/>
              <a:gd name="connsiteX3" fmla="*/ 318313 w 2498254"/>
              <a:gd name="connsiteY3" fmla="*/ 1184419 h 1184419"/>
              <a:gd name="connsiteX4" fmla="*/ 0 w 2498254"/>
              <a:gd name="connsiteY4" fmla="*/ 3855 h 1184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98254" h="1184419">
                <a:moveTo>
                  <a:pt x="0" y="3855"/>
                </a:moveTo>
                <a:lnTo>
                  <a:pt x="2498254" y="0"/>
                </a:lnTo>
                <a:cubicBezTo>
                  <a:pt x="2497150" y="393271"/>
                  <a:pt x="2496045" y="786541"/>
                  <a:pt x="2494941" y="1179812"/>
                </a:cubicBezTo>
                <a:lnTo>
                  <a:pt x="318313" y="1184419"/>
                </a:lnTo>
                <a:lnTo>
                  <a:pt x="0" y="3855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615600" tIns="97200" rIns="0"/>
          <a:lstStyle>
            <a:lvl1pPr marL="0" indent="0">
              <a:buNone/>
              <a:defRPr sz="2158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Agendapunkt</a:t>
            </a:r>
            <a:endParaRPr lang="de-DE"/>
          </a:p>
        </p:txBody>
      </p:sp>
      <p:sp>
        <p:nvSpPr>
          <p:cNvPr id="38" name="Textplatzhalter 4">
            <a:extLst>
              <a:ext uri="{FF2B5EF4-FFF2-40B4-BE49-F238E27FC236}">
                <a16:creationId xmlns:a16="http://schemas.microsoft.com/office/drawing/2014/main" id="{74619461-DCE2-E04D-B213-E2C2057F355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976916" y="663986"/>
            <a:ext cx="5221649" cy="918913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416738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318313 w 3916237"/>
              <a:gd name="connsiteY3" fmla="*/ 1190140 h 1190140"/>
              <a:gd name="connsiteX4" fmla="*/ 0 w 3916237"/>
              <a:gd name="connsiteY4" fmla="*/ 9576 h 1190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16237" h="1190140">
                <a:moveTo>
                  <a:pt x="0" y="9576"/>
                </a:moveTo>
                <a:lnTo>
                  <a:pt x="3916237" y="0"/>
                </a:lnTo>
                <a:lnTo>
                  <a:pt x="3916237" y="1185532"/>
                </a:lnTo>
                <a:lnTo>
                  <a:pt x="318313" y="1190140"/>
                </a:lnTo>
                <a:lnTo>
                  <a:pt x="0" y="9576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615600" tIns="97200" rIns="0"/>
          <a:lstStyle>
            <a:lvl1pPr marL="0" indent="0">
              <a:buNone/>
              <a:defRPr sz="2158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Agendapunkt</a:t>
            </a:r>
            <a:endParaRPr lang="de-DE"/>
          </a:p>
        </p:txBody>
      </p:sp>
      <p:sp>
        <p:nvSpPr>
          <p:cNvPr id="47" name="Textplatzhalter 4">
            <a:extLst>
              <a:ext uri="{FF2B5EF4-FFF2-40B4-BE49-F238E27FC236}">
                <a16:creationId xmlns:a16="http://schemas.microsoft.com/office/drawing/2014/main" id="{6AEF2793-1135-403E-AEF2-D90DD5856C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37666" y="1120030"/>
            <a:ext cx="3877782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58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de-DE"/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78597FC3-952A-B54E-A1FD-86E19ACA245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 flipH="1">
            <a:off x="6549130" y="825503"/>
            <a:ext cx="1035435" cy="615465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3356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8FCC801-B420-1F43-82AF-DE532C2DA72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 flipH="1">
            <a:off x="7042872" y="1802593"/>
            <a:ext cx="1035435" cy="615465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3356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/>
              <a:t>2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EAFF4431-34B1-F448-9684-AD20DD037CF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 flipH="1">
            <a:off x="7505062" y="2789473"/>
            <a:ext cx="1035435" cy="615465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3356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/>
              <a:t>3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9A14905C-BDDA-BB49-9EC4-96122F715A2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flipH="1">
            <a:off x="7979290" y="3774111"/>
            <a:ext cx="1035435" cy="615465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3356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/>
              <a:t>4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2368D683-1F7A-6D49-B62C-ED5726BFCDE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8461459" y="4759114"/>
            <a:ext cx="1035435" cy="615465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3356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/>
              <a:t>5</a:t>
            </a:r>
          </a:p>
        </p:txBody>
      </p:sp>
      <p:sp>
        <p:nvSpPr>
          <p:cNvPr id="64" name="Textplatzhalter 4">
            <a:extLst>
              <a:ext uri="{FF2B5EF4-FFF2-40B4-BE49-F238E27FC236}">
                <a16:creationId xmlns:a16="http://schemas.microsoft.com/office/drawing/2014/main" id="{3636E4F0-72FA-4FE7-B519-DD15D6FE366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841378" y="5061928"/>
            <a:ext cx="1974070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58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de-DE"/>
          </a:p>
        </p:txBody>
      </p:sp>
      <p:sp>
        <p:nvSpPr>
          <p:cNvPr id="62" name="Textplatzhalter 4">
            <a:extLst>
              <a:ext uri="{FF2B5EF4-FFF2-40B4-BE49-F238E27FC236}">
                <a16:creationId xmlns:a16="http://schemas.microsoft.com/office/drawing/2014/main" id="{62B35A94-04B8-44D6-A896-AB846A110C8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365966" y="4081844"/>
            <a:ext cx="2449482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58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de-DE"/>
          </a:p>
        </p:txBody>
      </p:sp>
      <p:sp>
        <p:nvSpPr>
          <p:cNvPr id="60" name="Textplatzhalter 4">
            <a:extLst>
              <a:ext uri="{FF2B5EF4-FFF2-40B4-BE49-F238E27FC236}">
                <a16:creationId xmlns:a16="http://schemas.microsoft.com/office/drawing/2014/main" id="{577EC97F-9199-450F-B723-7DF7F6966CB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89282" y="3090547"/>
            <a:ext cx="2926169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58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de-DE"/>
          </a:p>
        </p:txBody>
      </p:sp>
      <p:sp>
        <p:nvSpPr>
          <p:cNvPr id="50" name="Textplatzhalter 4">
            <a:extLst>
              <a:ext uri="{FF2B5EF4-FFF2-40B4-BE49-F238E27FC236}">
                <a16:creationId xmlns:a16="http://schemas.microsoft.com/office/drawing/2014/main" id="{6A1EB573-FCA9-403D-A524-B4D70FA0914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24159" y="2115483"/>
            <a:ext cx="3391290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58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de-DE"/>
          </a:p>
        </p:txBody>
      </p:sp>
      <p:sp>
        <p:nvSpPr>
          <p:cNvPr id="19" name="Titel 1">
            <a:extLst>
              <a:ext uri="{FF2B5EF4-FFF2-40B4-BE49-F238E27FC236}">
                <a16:creationId xmlns:a16="http://schemas.microsoft.com/office/drawing/2014/main" id="{25CF8AA7-E869-419A-B46F-1E730BB572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7" y="317115"/>
            <a:ext cx="11447422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Agenda (5 Angaben)</a:t>
            </a:r>
          </a:p>
        </p:txBody>
      </p:sp>
    </p:spTree>
    <p:extLst>
      <p:ext uri="{BB962C8B-B14F-4D97-AF65-F5344CB8AC3E}">
        <p14:creationId xmlns:p14="http://schemas.microsoft.com/office/powerpoint/2010/main" val="28401480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>
        <p14:flythrough/>
      </p:transition>
    </mc:Choice>
    <mc:Fallback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FC2ED5B2-8DFC-4864-8442-56CA06BC5DA0}"/>
              </a:ext>
            </a:extLst>
          </p:cNvPr>
          <p:cNvSpPr/>
          <p:nvPr userDrawn="1"/>
        </p:nvSpPr>
        <p:spPr>
          <a:xfrm>
            <a:off x="912286" y="1009650"/>
            <a:ext cx="11279716" cy="48387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9326516A-14A4-46D3-A41A-CBB2110739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6BE146A5-BAF4-4054-A6FC-9A94B206CFA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52976" y="1348031"/>
            <a:ext cx="10606868" cy="4158067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239997" indent="-239997">
              <a:spcBef>
                <a:spcPts val="800"/>
              </a:spcBef>
              <a:buFontTx/>
              <a:buBlip>
                <a:blip r:embed="rId2"/>
              </a:buBlip>
              <a:defRPr sz="1438">
                <a:solidFill>
                  <a:schemeClr val="tx1"/>
                </a:solidFill>
              </a:defRPr>
            </a:lvl1pPr>
            <a:lvl2pPr marL="719990" indent="-239997">
              <a:spcBef>
                <a:spcPts val="800"/>
              </a:spcBef>
              <a:defRPr sz="1438">
                <a:solidFill>
                  <a:schemeClr val="tx1"/>
                </a:solidFill>
              </a:defRPr>
            </a:lvl2pPr>
            <a:lvl3pPr marL="1439979" indent="-239997">
              <a:spcBef>
                <a:spcPts val="800"/>
              </a:spcBef>
              <a:buFontTx/>
              <a:buBlip>
                <a:blip r:embed="rId2"/>
              </a:buBlip>
              <a:defRPr sz="1438">
                <a:solidFill>
                  <a:schemeClr val="tx1"/>
                </a:solidFill>
              </a:defRPr>
            </a:lvl3pPr>
            <a:lvl4pPr>
              <a:spcBef>
                <a:spcPts val="800"/>
              </a:spcBef>
              <a:defRPr sz="1438">
                <a:solidFill>
                  <a:schemeClr val="tx1"/>
                </a:solidFill>
              </a:defRPr>
            </a:lvl4pPr>
            <a:lvl5pPr>
              <a:spcBef>
                <a:spcPts val="800"/>
              </a:spcBef>
              <a:defRPr sz="1438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7512227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>
        <p14:flythrough/>
      </p:transition>
    </mc:Choice>
    <mc:Fallback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3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winkliges Dreieck 1">
            <a:extLst>
              <a:ext uri="{FF2B5EF4-FFF2-40B4-BE49-F238E27FC236}">
                <a16:creationId xmlns:a16="http://schemas.microsoft.com/office/drawing/2014/main" id="{77827609-B996-4C67-A894-DBD475544679}"/>
              </a:ext>
            </a:extLst>
          </p:cNvPr>
          <p:cNvSpPr/>
          <p:nvPr userDrawn="1"/>
        </p:nvSpPr>
        <p:spPr>
          <a:xfrm>
            <a:off x="2" y="0"/>
            <a:ext cx="5511800" cy="6858000"/>
          </a:xfrm>
          <a:custGeom>
            <a:avLst/>
            <a:gdLst>
              <a:gd name="connsiteX0" fmla="*/ 0 w 2717800"/>
              <a:gd name="connsiteY0" fmla="*/ 4386262 h 4386262"/>
              <a:gd name="connsiteX1" fmla="*/ 0 w 2717800"/>
              <a:gd name="connsiteY1" fmla="*/ 0 h 4386262"/>
              <a:gd name="connsiteX2" fmla="*/ 2717800 w 2717800"/>
              <a:gd name="connsiteY2" fmla="*/ 4386262 h 4386262"/>
              <a:gd name="connsiteX3" fmla="*/ 0 w 2717800"/>
              <a:gd name="connsiteY3" fmla="*/ 4386262 h 4386262"/>
              <a:gd name="connsiteX0" fmla="*/ 0 w 2717800"/>
              <a:gd name="connsiteY0" fmla="*/ 4386262 h 4386262"/>
              <a:gd name="connsiteX1" fmla="*/ 0 w 2717800"/>
              <a:gd name="connsiteY1" fmla="*/ 0 h 4386262"/>
              <a:gd name="connsiteX2" fmla="*/ 416966 w 2717800"/>
              <a:gd name="connsiteY2" fmla="*/ 676541 h 4386262"/>
              <a:gd name="connsiteX3" fmla="*/ 2717800 w 2717800"/>
              <a:gd name="connsiteY3" fmla="*/ 4386262 h 4386262"/>
              <a:gd name="connsiteX4" fmla="*/ 0 w 2717800"/>
              <a:gd name="connsiteY4" fmla="*/ 4386262 h 4386262"/>
              <a:gd name="connsiteX0" fmla="*/ 0 w 2717800"/>
              <a:gd name="connsiteY0" fmla="*/ 4386262 h 4386262"/>
              <a:gd name="connsiteX1" fmla="*/ 0 w 2717800"/>
              <a:gd name="connsiteY1" fmla="*/ 0 h 4386262"/>
              <a:gd name="connsiteX2" fmla="*/ 687629 w 2717800"/>
              <a:gd name="connsiteY2" fmla="*/ 3543 h 4386262"/>
              <a:gd name="connsiteX3" fmla="*/ 2717800 w 2717800"/>
              <a:gd name="connsiteY3" fmla="*/ 4386262 h 4386262"/>
              <a:gd name="connsiteX4" fmla="*/ 0 w 2717800"/>
              <a:gd name="connsiteY4" fmla="*/ 4386262 h 4386262"/>
              <a:gd name="connsiteX0" fmla="*/ 0 w 3873602"/>
              <a:gd name="connsiteY0" fmla="*/ 4386262 h 4386262"/>
              <a:gd name="connsiteX1" fmla="*/ 0 w 3873602"/>
              <a:gd name="connsiteY1" fmla="*/ 0 h 4386262"/>
              <a:gd name="connsiteX2" fmla="*/ 687629 w 3873602"/>
              <a:gd name="connsiteY2" fmla="*/ 3543 h 4386262"/>
              <a:gd name="connsiteX3" fmla="*/ 3873602 w 3873602"/>
              <a:gd name="connsiteY3" fmla="*/ 4386262 h 4386262"/>
              <a:gd name="connsiteX4" fmla="*/ 0 w 3873602"/>
              <a:gd name="connsiteY4" fmla="*/ 4386262 h 4386262"/>
              <a:gd name="connsiteX0" fmla="*/ 0 w 3873602"/>
              <a:gd name="connsiteY0" fmla="*/ 4386262 h 4386262"/>
              <a:gd name="connsiteX1" fmla="*/ 0 w 3873602"/>
              <a:gd name="connsiteY1" fmla="*/ 0 h 4386262"/>
              <a:gd name="connsiteX2" fmla="*/ 1565453 w 3873602"/>
              <a:gd name="connsiteY2" fmla="*/ 3543 h 4386262"/>
              <a:gd name="connsiteX3" fmla="*/ 3873602 w 3873602"/>
              <a:gd name="connsiteY3" fmla="*/ 4386262 h 4386262"/>
              <a:gd name="connsiteX4" fmla="*/ 0 w 3873602"/>
              <a:gd name="connsiteY4" fmla="*/ 4386262 h 4386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73602" h="4386262">
                <a:moveTo>
                  <a:pt x="0" y="4386262"/>
                </a:moveTo>
                <a:lnTo>
                  <a:pt x="0" y="0"/>
                </a:lnTo>
                <a:lnTo>
                  <a:pt x="1565453" y="3543"/>
                </a:lnTo>
                <a:lnTo>
                  <a:pt x="3873602" y="4386262"/>
                </a:lnTo>
                <a:lnTo>
                  <a:pt x="0" y="438626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 eaLnBrk="1"/>
            <a:endParaRPr lang="de-DE" sz="2400">
              <a:latin typeface="+mj-lt"/>
            </a:endParaRPr>
          </a:p>
        </p:txBody>
      </p:sp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35"/>
            </p:custDataLst>
          </p:nvPr>
        </p:nvGraphicFramePr>
        <p:xfrm>
          <a:off x="1904" y="1904"/>
          <a:ext cx="1902" cy="19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8" imgW="270" imgH="270" progId="TCLayout.ActiveDocument.1">
                  <p:embed/>
                </p:oleObj>
              </mc:Choice>
              <mc:Fallback>
                <p:oleObj name="think-cell Folie" r:id="rId38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904" y="1904"/>
                        <a:ext cx="1902" cy="19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BoxKPL08" hidden="1"/>
          <p:cNvSpPr/>
          <p:nvPr userDrawn="1"/>
        </p:nvSpPr>
        <p:spPr>
          <a:xfrm>
            <a:off x="9469280" y="6483379"/>
            <a:ext cx="935231" cy="366182"/>
          </a:xfrm>
          <a:prstGeom prst="rect">
            <a:avLst/>
          </a:prstGeom>
          <a:noFill/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l"/>
            <a:r>
              <a:rPr lang="de-DE" sz="1678" b="0">
                <a:solidFill>
                  <a:srgbClr val="658E11"/>
                </a:solidFill>
              </a:rPr>
              <a:t>Keine Kenntlichmachung</a:t>
            </a:r>
          </a:p>
        </p:txBody>
      </p:sp>
      <p:sp>
        <p:nvSpPr>
          <p:cNvPr id="16" name="Rechteck 1">
            <a:extLst>
              <a:ext uri="{FF2B5EF4-FFF2-40B4-BE49-F238E27FC236}">
                <a16:creationId xmlns:a16="http://schemas.microsoft.com/office/drawing/2014/main" id="{76410061-FB63-394F-8BEB-39D45BA00EA9}"/>
              </a:ext>
            </a:extLst>
          </p:cNvPr>
          <p:cNvSpPr/>
          <p:nvPr userDrawn="1"/>
        </p:nvSpPr>
        <p:spPr>
          <a:xfrm>
            <a:off x="-1717" y="6022400"/>
            <a:ext cx="859887" cy="500919"/>
          </a:xfrm>
          <a:custGeom>
            <a:avLst/>
            <a:gdLst>
              <a:gd name="connsiteX0" fmla="*/ 0 w 407233"/>
              <a:gd name="connsiteY0" fmla="*/ 0 h 374401"/>
              <a:gd name="connsiteX1" fmla="*/ 407233 w 407233"/>
              <a:gd name="connsiteY1" fmla="*/ 0 h 374401"/>
              <a:gd name="connsiteX2" fmla="*/ 407233 w 407233"/>
              <a:gd name="connsiteY2" fmla="*/ 374401 h 374401"/>
              <a:gd name="connsiteX3" fmla="*/ 0 w 407233"/>
              <a:gd name="connsiteY3" fmla="*/ 374401 h 374401"/>
              <a:gd name="connsiteX4" fmla="*/ 0 w 407233"/>
              <a:gd name="connsiteY4" fmla="*/ 0 h 374401"/>
              <a:gd name="connsiteX0" fmla="*/ 0 w 592112"/>
              <a:gd name="connsiteY0" fmla="*/ 0 h 374401"/>
              <a:gd name="connsiteX1" fmla="*/ 592112 w 592112"/>
              <a:gd name="connsiteY1" fmla="*/ 2499 h 374401"/>
              <a:gd name="connsiteX2" fmla="*/ 407233 w 592112"/>
              <a:gd name="connsiteY2" fmla="*/ 374401 h 374401"/>
              <a:gd name="connsiteX3" fmla="*/ 0 w 592112"/>
              <a:gd name="connsiteY3" fmla="*/ 374401 h 374401"/>
              <a:gd name="connsiteX4" fmla="*/ 0 w 592112"/>
              <a:gd name="connsiteY4" fmla="*/ 0 h 374401"/>
              <a:gd name="connsiteX0" fmla="*/ 0 w 643627"/>
              <a:gd name="connsiteY0" fmla="*/ 0 h 374401"/>
              <a:gd name="connsiteX1" fmla="*/ 643627 w 643627"/>
              <a:gd name="connsiteY1" fmla="*/ 2499 h 374401"/>
              <a:gd name="connsiteX2" fmla="*/ 407233 w 643627"/>
              <a:gd name="connsiteY2" fmla="*/ 374401 h 374401"/>
              <a:gd name="connsiteX3" fmla="*/ 0 w 643627"/>
              <a:gd name="connsiteY3" fmla="*/ 374401 h 374401"/>
              <a:gd name="connsiteX4" fmla="*/ 0 w 643627"/>
              <a:gd name="connsiteY4" fmla="*/ 0 h 374401"/>
              <a:gd name="connsiteX0" fmla="*/ 0 w 643627"/>
              <a:gd name="connsiteY0" fmla="*/ 0 h 374401"/>
              <a:gd name="connsiteX1" fmla="*/ 643627 w 643627"/>
              <a:gd name="connsiteY1" fmla="*/ 2499 h 374401"/>
              <a:gd name="connsiteX2" fmla="*/ 453597 w 643627"/>
              <a:gd name="connsiteY2" fmla="*/ 374401 h 374401"/>
              <a:gd name="connsiteX3" fmla="*/ 0 w 643627"/>
              <a:gd name="connsiteY3" fmla="*/ 374401 h 374401"/>
              <a:gd name="connsiteX4" fmla="*/ 0 w 643627"/>
              <a:gd name="connsiteY4" fmla="*/ 0 h 374401"/>
              <a:gd name="connsiteX0" fmla="*/ 0 w 643627"/>
              <a:gd name="connsiteY0" fmla="*/ 0 h 465841"/>
              <a:gd name="connsiteX1" fmla="*/ 643627 w 643627"/>
              <a:gd name="connsiteY1" fmla="*/ 2499 h 465841"/>
              <a:gd name="connsiteX2" fmla="*/ 453597 w 643627"/>
              <a:gd name="connsiteY2" fmla="*/ 374401 h 465841"/>
              <a:gd name="connsiteX3" fmla="*/ 91440 w 643627"/>
              <a:gd name="connsiteY3" fmla="*/ 465841 h 465841"/>
              <a:gd name="connsiteX0" fmla="*/ 1288 w 644915"/>
              <a:gd name="connsiteY0" fmla="*/ 0 h 375689"/>
              <a:gd name="connsiteX1" fmla="*/ 644915 w 644915"/>
              <a:gd name="connsiteY1" fmla="*/ 2499 h 375689"/>
              <a:gd name="connsiteX2" fmla="*/ 454885 w 644915"/>
              <a:gd name="connsiteY2" fmla="*/ 374401 h 375689"/>
              <a:gd name="connsiteX3" fmla="*/ 0 w 644915"/>
              <a:gd name="connsiteY3" fmla="*/ 375689 h 3756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4915" h="375689">
                <a:moveTo>
                  <a:pt x="1288" y="0"/>
                </a:moveTo>
                <a:lnTo>
                  <a:pt x="644915" y="2499"/>
                </a:lnTo>
                <a:lnTo>
                  <a:pt x="454885" y="374401"/>
                </a:lnTo>
                <a:lnTo>
                  <a:pt x="0" y="375689"/>
                </a:lnTo>
              </a:path>
            </a:pathLst>
          </a:custGeom>
          <a:solidFill>
            <a:schemeClr val="bg1"/>
          </a:solidFill>
          <a:ln w="3175">
            <a:noFill/>
          </a:ln>
          <a:effectLst>
            <a:outerShdw blurRad="1905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>
              <a:latin typeface="+mj-lt"/>
            </a:endParaRPr>
          </a:p>
        </p:txBody>
      </p:sp>
      <p:sp>
        <p:nvSpPr>
          <p:cNvPr id="22" name="textBoxPageXFromY">
            <a:extLst>
              <a:ext uri="{FF2B5EF4-FFF2-40B4-BE49-F238E27FC236}">
                <a16:creationId xmlns:a16="http://schemas.microsoft.com/office/drawing/2014/main" id="{6C2ED314-14D2-FA4B-80DF-F41F7F264F70}"/>
              </a:ext>
            </a:extLst>
          </p:cNvPr>
          <p:cNvSpPr txBox="1">
            <a:spLocks/>
          </p:cNvSpPr>
          <p:nvPr userDrawn="1"/>
        </p:nvSpPr>
        <p:spPr>
          <a:xfrm>
            <a:off x="-1715" y="6104003"/>
            <a:ext cx="712117" cy="36618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E52C284-3A18-46CD-903D-DE3079F66B98}" type="slidenum">
              <a:rPr lang="de-DE" sz="1079" smtClean="0"/>
              <a:t>‹Nr.›</a:t>
            </a:fld>
            <a:r>
              <a:rPr lang="de-DE" sz="1079"/>
              <a:t>/20</a:t>
            </a:r>
          </a:p>
        </p:txBody>
      </p:sp>
      <p:sp>
        <p:nvSpPr>
          <p:cNvPr id="35" name="textBoxChangeDate">
            <a:extLst>
              <a:ext uri="{FF2B5EF4-FFF2-40B4-BE49-F238E27FC236}">
                <a16:creationId xmlns:a16="http://schemas.microsoft.com/office/drawing/2014/main" id="{E66FA289-8747-411D-B981-EE77120C2E7A}"/>
              </a:ext>
            </a:extLst>
          </p:cNvPr>
          <p:cNvSpPr txBox="1">
            <a:spLocks/>
          </p:cNvSpPr>
          <p:nvPr userDrawn="1"/>
        </p:nvSpPr>
        <p:spPr>
          <a:xfrm>
            <a:off x="1238801" y="6189823"/>
            <a:ext cx="1083630" cy="16607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1079" b="0"/>
              <a:t>Datum: </a:t>
            </a:r>
            <a:fld id="{ECD35CEF-4E61-48D0-A946-64E9556BCBBC}" type="datetime1">
              <a:rPr lang="de-DE" sz="1079" b="0" smtClean="0"/>
              <a:t>06.05.2021</a:t>
            </a:fld>
            <a:endParaRPr lang="de-DE" sz="1079" b="0"/>
          </a:p>
        </p:txBody>
      </p:sp>
      <p:sp>
        <p:nvSpPr>
          <p:cNvPr id="20" name="textBoxUserName">
            <a:extLst>
              <a:ext uri="{FF2B5EF4-FFF2-40B4-BE49-F238E27FC236}">
                <a16:creationId xmlns:a16="http://schemas.microsoft.com/office/drawing/2014/main" id="{4256B69B-FB45-44AE-9888-1CD421195833}"/>
              </a:ext>
            </a:extLst>
          </p:cNvPr>
          <p:cNvSpPr txBox="1">
            <a:spLocks noChangeArrowheads="1"/>
          </p:cNvSpPr>
          <p:nvPr userDrawn="1">
            <p:custDataLst>
              <p:tags r:id="rId36"/>
            </p:custDataLst>
          </p:nvPr>
        </p:nvSpPr>
        <p:spPr bwMode="auto">
          <a:xfrm>
            <a:off x="213127" y="6633908"/>
            <a:ext cx="65" cy="12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buClrTx/>
              <a:buFontTx/>
              <a:buNone/>
            </a:pPr>
            <a:endParaRPr lang="de-DE" sz="839"/>
          </a:p>
        </p:txBody>
      </p:sp>
      <p:sp>
        <p:nvSpPr>
          <p:cNvPr id="21" name="textBoxDepartment">
            <a:extLst>
              <a:ext uri="{FF2B5EF4-FFF2-40B4-BE49-F238E27FC236}">
                <a16:creationId xmlns:a16="http://schemas.microsoft.com/office/drawing/2014/main" id="{94C697CA-6027-452F-B1DA-30301A41340C}"/>
              </a:ext>
            </a:extLst>
          </p:cNvPr>
          <p:cNvSpPr txBox="1">
            <a:spLocks noChangeArrowheads="1"/>
          </p:cNvSpPr>
          <p:nvPr userDrawn="1">
            <p:custDataLst>
              <p:tags r:id="rId37"/>
            </p:custDataLst>
          </p:nvPr>
        </p:nvSpPr>
        <p:spPr bwMode="auto">
          <a:xfrm>
            <a:off x="304545" y="6633908"/>
            <a:ext cx="65" cy="12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buClrTx/>
              <a:buFontTx/>
              <a:buNone/>
            </a:pPr>
            <a:endParaRPr lang="de-DE" sz="839"/>
          </a:p>
        </p:txBody>
      </p:sp>
      <p:pic>
        <p:nvPicPr>
          <p:cNvPr id="1028" name="Picture 4" descr="Hochschulkommunikation - Hochschule Stralsund">
            <a:extLst>
              <a:ext uri="{FF2B5EF4-FFF2-40B4-BE49-F238E27FC236}">
                <a16:creationId xmlns:a16="http://schemas.microsoft.com/office/drawing/2014/main" id="{826230F5-6CED-4676-A24D-03991711704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9634" y="5914486"/>
            <a:ext cx="2502364" cy="9435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02943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  <p:sldLayoutId id="2147483691" r:id="rId30"/>
    <p:sldLayoutId id="2147483692" r:id="rId31"/>
    <p:sldLayoutId id="2147483693" r:id="rId32"/>
    <p:sldLayoutId id="2147483694" r:id="rId33"/>
  </p:sldLayoutIdLst>
  <mc:AlternateContent xmlns:mc="http://schemas.openxmlformats.org/markup-compatibility/2006">
    <mc:Choice xmlns:p14="http://schemas.microsoft.com/office/powerpoint/2010/main" Requires="p14">
      <p:transition>
        <p14:flythrough/>
      </p:transition>
    </mc:Choice>
    <mc:Fallback>
      <p:transition>
        <p:fade/>
      </p:transition>
    </mc:Fallback>
  </mc:AlternateContent>
  <p:txStyles>
    <p:titleStyle>
      <a:lvl1pPr algn="l" defTabSz="1096091" rtl="0" eaLnBrk="1" latinLnBrk="0" hangingPunct="1">
        <a:lnSpc>
          <a:spcPct val="100000"/>
        </a:lnSpc>
        <a:spcBef>
          <a:spcPct val="0"/>
        </a:spcBef>
        <a:buNone/>
        <a:defRPr sz="2877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1096091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>
          <a:prstClr val="black"/>
        </a:buClr>
        <a:buSzPct val="90000"/>
        <a:buFontTx/>
        <a:buNone/>
        <a:tabLst/>
        <a:defRPr sz="2158" kern="1200">
          <a:solidFill>
            <a:schemeClr val="tx1"/>
          </a:solidFill>
          <a:latin typeface="+mn-lt"/>
          <a:ea typeface="+mn-ea"/>
          <a:cs typeface="+mn-cs"/>
        </a:defRPr>
      </a:lvl1pPr>
      <a:lvl2pPr marL="215032" marR="0" indent="-215032" algn="l" defTabSz="1096091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158" kern="1200">
          <a:solidFill>
            <a:schemeClr val="tx1"/>
          </a:solidFill>
          <a:latin typeface="+mn-lt"/>
          <a:ea typeface="+mn-ea"/>
          <a:cs typeface="+mn-cs"/>
        </a:defRPr>
      </a:lvl2pPr>
      <a:lvl3pPr marL="430064" marR="0" indent="-215032" algn="l" defTabSz="430064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Tx/>
        <a:buSzPct val="90000"/>
        <a:buFont typeface="Porsche News Gothic" panose="02000400000000000000" pitchFamily="2" charset="0"/>
        <a:buChar char="•"/>
        <a:tabLst/>
        <a:defRPr sz="2158" kern="1200">
          <a:solidFill>
            <a:schemeClr val="tx1"/>
          </a:solidFill>
          <a:latin typeface="+mn-lt"/>
          <a:ea typeface="+mn-ea"/>
          <a:cs typeface="+mn-cs"/>
        </a:defRPr>
      </a:lvl3pPr>
      <a:lvl4pPr marL="645096" marR="0" indent="-215032" algn="l" defTabSz="645096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Tx/>
        <a:buSzPct val="90000"/>
        <a:buFont typeface="Symbol" panose="05050102010706020507" pitchFamily="18" charset="2"/>
        <a:buChar char="-"/>
        <a:tabLst/>
        <a:defRPr sz="2158" kern="1200">
          <a:solidFill>
            <a:schemeClr val="tx1"/>
          </a:solidFill>
          <a:latin typeface="+mn-lt"/>
          <a:ea typeface="+mn-ea"/>
          <a:cs typeface="+mn-cs"/>
        </a:defRPr>
      </a:lvl4pPr>
      <a:lvl5pPr marL="863064" marR="0" indent="-215032" algn="l" defTabSz="860127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Tx/>
        <a:buSzPct val="90000"/>
        <a:buFont typeface="NewsGoth for Porsche Com" pitchFamily="34" charset="0"/>
        <a:buChar char="•"/>
        <a:tabLst/>
        <a:defRPr sz="2158" kern="1200">
          <a:solidFill>
            <a:schemeClr val="tx1"/>
          </a:solidFill>
          <a:latin typeface="+mn-lt"/>
          <a:ea typeface="+mn-ea"/>
          <a:cs typeface="+mn-cs"/>
        </a:defRPr>
      </a:lvl5pPr>
      <a:lvl6pPr marL="1077062" marR="0" indent="-216935" algn="l" defTabSz="1096091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Tx/>
        <a:buSzPct val="90000"/>
        <a:buFont typeface="NewsGoth for Porsche Com" pitchFamily="34" charset="0"/>
        <a:buChar char="•"/>
        <a:tabLst/>
        <a:defRPr sz="2158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077062" marR="0" indent="-216935" algn="l" defTabSz="1096091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Tx/>
        <a:buSzPct val="90000"/>
        <a:buFont typeface="NewsGoth for Porsche Com" pitchFamily="34" charset="0"/>
        <a:buChar char="•"/>
        <a:tabLst/>
        <a:defRPr sz="2158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077062" marR="0" indent="-216935" algn="l" defTabSz="1096091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Tx/>
        <a:buSzPct val="90000"/>
        <a:buFont typeface="NewsGoth for Porsche Com" pitchFamily="34" charset="0"/>
        <a:buChar char="•"/>
        <a:tabLst/>
        <a:defRPr sz="2158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077062" marR="0" indent="-216935" algn="l" defTabSz="1096091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Tx/>
        <a:buSzPct val="90000"/>
        <a:buFont typeface="NewsGoth for Porsche Com" pitchFamily="34" charset="0"/>
        <a:buChar char="•"/>
        <a:tabLst/>
        <a:defRPr sz="2158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indent="0" algn="l" defTabSz="1096091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Tx/>
        <a:buNone/>
        <a:defRPr sz="2158" kern="1200">
          <a:solidFill>
            <a:schemeClr val="tx1"/>
          </a:solidFill>
          <a:latin typeface="+mn-lt"/>
          <a:ea typeface="+mn-ea"/>
          <a:cs typeface="+mn-cs"/>
        </a:defRPr>
      </a:lvl1pPr>
      <a:lvl2pPr marL="215766" indent="-215766" algn="l" defTabSz="1096091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 typeface="NewsGoth for Porsche Com" pitchFamily="34" charset="0"/>
        <a:buChar char="•"/>
        <a:defRPr sz="2158" kern="1200">
          <a:solidFill>
            <a:schemeClr val="tx1"/>
          </a:solidFill>
          <a:latin typeface="+mn-lt"/>
          <a:ea typeface="+mn-ea"/>
          <a:cs typeface="+mn-cs"/>
        </a:defRPr>
      </a:lvl2pPr>
      <a:lvl3pPr marL="647298" indent="-215766" algn="l" defTabSz="1096091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 typeface="NewsGoth for Porsche Com" pitchFamily="34" charset="0"/>
        <a:buChar char="•"/>
        <a:defRPr sz="2158" kern="1200">
          <a:solidFill>
            <a:schemeClr val="tx1"/>
          </a:solidFill>
          <a:latin typeface="+mn-lt"/>
          <a:ea typeface="+mn-ea"/>
          <a:cs typeface="+mn-cs"/>
        </a:defRPr>
      </a:lvl3pPr>
      <a:lvl4pPr marL="1078830" indent="-215766" algn="l" defTabSz="1096091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 typeface="NewsGoth for Porsche Com" pitchFamily="34" charset="0"/>
        <a:buChar char="•"/>
        <a:defRPr sz="2158" kern="1200">
          <a:solidFill>
            <a:schemeClr val="tx1"/>
          </a:solidFill>
          <a:latin typeface="+mn-lt"/>
          <a:ea typeface="+mn-ea"/>
          <a:cs typeface="+mn-cs"/>
        </a:defRPr>
      </a:lvl4pPr>
      <a:lvl5pPr marL="1078830" indent="-215766" algn="l" defTabSz="1096091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 typeface="NewsGoth for Porsche Com" pitchFamily="34" charset="0"/>
        <a:buChar char="•"/>
        <a:defRPr sz="2158" kern="1200">
          <a:solidFill>
            <a:schemeClr val="tx1"/>
          </a:solidFill>
          <a:latin typeface="+mn-lt"/>
          <a:ea typeface="+mn-ea"/>
          <a:cs typeface="+mn-cs"/>
        </a:defRPr>
      </a:lvl5pPr>
      <a:lvl6pPr marL="1078830" indent="-215766" algn="l" defTabSz="1096091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 typeface="NewsGoth for Porsche Com" pitchFamily="34" charset="0"/>
        <a:buChar char="•"/>
        <a:defRPr sz="2158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078830" indent="-215766" algn="l" defTabSz="1096091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 typeface="NewsGoth for Porsche Com" pitchFamily="34" charset="0"/>
        <a:buChar char="•"/>
        <a:defRPr sz="2158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078830" indent="-215766" algn="l" defTabSz="1096091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 typeface="NewsGoth for Porsche Com" pitchFamily="34" charset="0"/>
        <a:buChar char="•"/>
        <a:defRPr sz="2158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078830" indent="-215766" algn="l" defTabSz="1096091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 typeface="NewsGoth for Porsche Com" pitchFamily="34" charset="0"/>
        <a:buChar char="•"/>
        <a:defRPr sz="2158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02">
          <p15:clr>
            <a:srgbClr val="F26B43"/>
          </p15:clr>
        </p15:guide>
        <p15:guide id="2" pos="479">
          <p15:clr>
            <a:srgbClr val="F26B43"/>
          </p15:clr>
        </p15:guide>
        <p15:guide id="3" orient="horz" pos="529">
          <p15:clr>
            <a:srgbClr val="F26B43"/>
          </p15:clr>
        </p15:guide>
        <p15:guide id="4" orient="horz" pos="704">
          <p15:clr>
            <a:srgbClr val="A4A3A4"/>
          </p15:clr>
        </p15:guide>
        <p15:guide id="5" orient="horz" pos="3073">
          <p15:clr>
            <a:srgbClr val="F26B43"/>
          </p15:clr>
        </p15:guide>
        <p15:guide id="6" orient="horz" pos="2896">
          <p15:clr>
            <a:srgbClr val="A4A3A4"/>
          </p15:clr>
        </p15:guide>
        <p15:guide id="7" pos="651">
          <p15:clr>
            <a:srgbClr val="A4A3A4"/>
          </p15:clr>
        </p15:guide>
        <p15:guide id="8" pos="1438">
          <p15:clr>
            <a:srgbClr val="A4A3A4"/>
          </p15:clr>
        </p15:guide>
        <p15:guide id="9" pos="1613">
          <p15:clr>
            <a:srgbClr val="A4A3A4"/>
          </p15:clr>
        </p15:guide>
        <p15:guide id="10" pos="2397">
          <p15:clr>
            <a:srgbClr val="A4A3A4"/>
          </p15:clr>
        </p15:guide>
        <p15:guide id="11" pos="2572">
          <p15:clr>
            <a:srgbClr val="A4A3A4"/>
          </p15:clr>
        </p15:guide>
        <p15:guide id="12" pos="3356">
          <p15:clr>
            <a:srgbClr val="A4A3A4"/>
          </p15:clr>
        </p15:guide>
        <p15:guide id="13" pos="3531">
          <p15:clr>
            <a:srgbClr val="A4A3A4"/>
          </p15:clr>
        </p15:guide>
        <p15:guide id="14" pos="4315">
          <p15:clr>
            <a:srgbClr val="A4A3A4"/>
          </p15:clr>
        </p15:guide>
        <p15:guide id="15" pos="4493">
          <p15:clr>
            <a:srgbClr val="A4A3A4"/>
          </p15:clr>
        </p15:guide>
        <p15:guide id="16" pos="5277">
          <p15:clr>
            <a:srgbClr val="A4A3A4"/>
          </p15:clr>
        </p15:guide>
        <p15:guide id="17" pos="5452">
          <p15:clr>
            <a:srgbClr val="A4A3A4"/>
          </p15:clr>
        </p15:guide>
        <p15:guide id="18" pos="6236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Relationship Id="rId4" Type="http://schemas.openxmlformats.org/officeDocument/2006/relationships/slide" Target="slide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Relationship Id="rId4" Type="http://schemas.openxmlformats.org/officeDocument/2006/relationships/slide" Target="slide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Relationship Id="rId4" Type="http://schemas.openxmlformats.org/officeDocument/2006/relationships/slide" Target="slide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dcomtois/summarytools" TargetMode="Externa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" Target="slide17.xml"/><Relationship Id="rId13" Type="http://schemas.openxmlformats.org/officeDocument/2006/relationships/image" Target="../media/image15.png"/><Relationship Id="rId3" Type="http://schemas.openxmlformats.org/officeDocument/2006/relationships/notesSlide" Target="../notesSlides/notesSlide6.xml"/><Relationship Id="rId7" Type="http://schemas.openxmlformats.org/officeDocument/2006/relationships/slide" Target="slide9.xml"/><Relationship Id="rId12" Type="http://schemas.openxmlformats.org/officeDocument/2006/relationships/image" Target="../media/image14.png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0.xml"/><Relationship Id="rId6" Type="http://schemas.openxmlformats.org/officeDocument/2006/relationships/slide" Target="slide15.xml"/><Relationship Id="rId11" Type="http://schemas.openxmlformats.org/officeDocument/2006/relationships/image" Target="../media/image13.png"/><Relationship Id="rId5" Type="http://schemas.openxmlformats.org/officeDocument/2006/relationships/image" Target="../media/image3.emf"/><Relationship Id="rId10" Type="http://schemas.openxmlformats.org/officeDocument/2006/relationships/image" Target="../media/image12.png"/><Relationship Id="rId4" Type="http://schemas.openxmlformats.org/officeDocument/2006/relationships/oleObject" Target="../embeddings/oleObject6.bin"/><Relationship Id="rId9" Type="http://schemas.openxmlformats.org/officeDocument/2006/relationships/slide" Target="slide12.xml"/><Relationship Id="rId14" Type="http://schemas.microsoft.com/office/2007/relationships/hdphoto" Target="../media/hdphoto1.wdp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Gras, draußen, Gebäude, Feld enthält.&#10;&#10;Automatisch generierte Beschreibung">
            <a:extLst>
              <a:ext uri="{FF2B5EF4-FFF2-40B4-BE49-F238E27FC236}">
                <a16:creationId xmlns:a16="http://schemas.microsoft.com/office/drawing/2014/main" id="{0D8ECACA-6308-4632-AE46-C883DF53B5B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" r="14294" b="13828"/>
          <a:stretch/>
        </p:blipFill>
        <p:spPr>
          <a:xfrm>
            <a:off x="-109653" y="0"/>
            <a:ext cx="12301653" cy="6927072"/>
          </a:xfrm>
          <a:prstGeom prst="rect">
            <a:avLst/>
          </a:prstGeom>
        </p:spPr>
      </p:pic>
      <p:sp>
        <p:nvSpPr>
          <p:cNvPr id="6" name="Parallelogramm 5">
            <a:extLst>
              <a:ext uri="{FF2B5EF4-FFF2-40B4-BE49-F238E27FC236}">
                <a16:creationId xmlns:a16="http://schemas.microsoft.com/office/drawing/2014/main" id="{65EA406A-DDA2-419E-9663-31C2E2EC46AA}"/>
              </a:ext>
            </a:extLst>
          </p:cNvPr>
          <p:cNvSpPr/>
          <p:nvPr/>
        </p:nvSpPr>
        <p:spPr>
          <a:xfrm>
            <a:off x="-109652" y="227314"/>
            <a:ext cx="6346824" cy="728487"/>
          </a:xfrm>
          <a:custGeom>
            <a:avLst/>
            <a:gdLst>
              <a:gd name="connsiteX0" fmla="*/ 0 w 6411625"/>
              <a:gd name="connsiteY0" fmla="*/ 1426307 h 1426307"/>
              <a:gd name="connsiteX1" fmla="*/ 356577 w 6411625"/>
              <a:gd name="connsiteY1" fmla="*/ 0 h 1426307"/>
              <a:gd name="connsiteX2" fmla="*/ 6411625 w 6411625"/>
              <a:gd name="connsiteY2" fmla="*/ 0 h 1426307"/>
              <a:gd name="connsiteX3" fmla="*/ 6055048 w 6411625"/>
              <a:gd name="connsiteY3" fmla="*/ 1426307 h 1426307"/>
              <a:gd name="connsiteX4" fmla="*/ 0 w 6411625"/>
              <a:gd name="connsiteY4" fmla="*/ 1426307 h 1426307"/>
              <a:gd name="connsiteX0" fmla="*/ 0 w 6069879"/>
              <a:gd name="connsiteY0" fmla="*/ 1463253 h 1463253"/>
              <a:gd name="connsiteX1" fmla="*/ 14831 w 6069879"/>
              <a:gd name="connsiteY1" fmla="*/ 0 h 1463253"/>
              <a:gd name="connsiteX2" fmla="*/ 6069879 w 6069879"/>
              <a:gd name="connsiteY2" fmla="*/ 0 h 1463253"/>
              <a:gd name="connsiteX3" fmla="*/ 5713302 w 6069879"/>
              <a:gd name="connsiteY3" fmla="*/ 1426307 h 1463253"/>
              <a:gd name="connsiteX4" fmla="*/ 0 w 6069879"/>
              <a:gd name="connsiteY4" fmla="*/ 1463253 h 1463253"/>
              <a:gd name="connsiteX0" fmla="*/ 0 w 6069879"/>
              <a:gd name="connsiteY0" fmla="*/ 1463253 h 1463253"/>
              <a:gd name="connsiteX1" fmla="*/ 14831 w 6069879"/>
              <a:gd name="connsiteY1" fmla="*/ 0 h 1463253"/>
              <a:gd name="connsiteX2" fmla="*/ 6069879 w 6069879"/>
              <a:gd name="connsiteY2" fmla="*/ 0 h 1463253"/>
              <a:gd name="connsiteX3" fmla="*/ 5451806 w 6069879"/>
              <a:gd name="connsiteY3" fmla="*/ 1399576 h 1463253"/>
              <a:gd name="connsiteX4" fmla="*/ 0 w 6069879"/>
              <a:gd name="connsiteY4" fmla="*/ 1463253 h 1463253"/>
              <a:gd name="connsiteX0" fmla="*/ 0 w 5875456"/>
              <a:gd name="connsiteY0" fmla="*/ 1463253 h 1463253"/>
              <a:gd name="connsiteX1" fmla="*/ 14831 w 5875456"/>
              <a:gd name="connsiteY1" fmla="*/ 0 h 1463253"/>
              <a:gd name="connsiteX2" fmla="*/ 5875456 w 5875456"/>
              <a:gd name="connsiteY2" fmla="*/ 56054 h 1463253"/>
              <a:gd name="connsiteX3" fmla="*/ 5451806 w 5875456"/>
              <a:gd name="connsiteY3" fmla="*/ 1399576 h 1463253"/>
              <a:gd name="connsiteX4" fmla="*/ 0 w 5875456"/>
              <a:gd name="connsiteY4" fmla="*/ 1463253 h 1463253"/>
              <a:gd name="connsiteX0" fmla="*/ 19023 w 5894479"/>
              <a:gd name="connsiteY0" fmla="*/ 1475182 h 1475182"/>
              <a:gd name="connsiteX1" fmla="*/ 0 w 5894479"/>
              <a:gd name="connsiteY1" fmla="*/ 0 h 1475182"/>
              <a:gd name="connsiteX2" fmla="*/ 5894479 w 5894479"/>
              <a:gd name="connsiteY2" fmla="*/ 67983 h 1475182"/>
              <a:gd name="connsiteX3" fmla="*/ 5470829 w 5894479"/>
              <a:gd name="connsiteY3" fmla="*/ 1411505 h 1475182"/>
              <a:gd name="connsiteX4" fmla="*/ 19023 w 5894479"/>
              <a:gd name="connsiteY4" fmla="*/ 1475182 h 1475182"/>
              <a:gd name="connsiteX0" fmla="*/ 0 w 5909244"/>
              <a:gd name="connsiteY0" fmla="*/ 1475182 h 1475182"/>
              <a:gd name="connsiteX1" fmla="*/ 14765 w 5909244"/>
              <a:gd name="connsiteY1" fmla="*/ 0 h 1475182"/>
              <a:gd name="connsiteX2" fmla="*/ 5909244 w 5909244"/>
              <a:gd name="connsiteY2" fmla="*/ 67983 h 1475182"/>
              <a:gd name="connsiteX3" fmla="*/ 5485594 w 5909244"/>
              <a:gd name="connsiteY3" fmla="*/ 1411505 h 1475182"/>
              <a:gd name="connsiteX4" fmla="*/ 0 w 5909244"/>
              <a:gd name="connsiteY4" fmla="*/ 1475182 h 1475182"/>
              <a:gd name="connsiteX0" fmla="*/ 35464 w 5944708"/>
              <a:gd name="connsiteY0" fmla="*/ 1456414 h 1456414"/>
              <a:gd name="connsiteX1" fmla="*/ 0 w 5944708"/>
              <a:gd name="connsiteY1" fmla="*/ 0 h 1456414"/>
              <a:gd name="connsiteX2" fmla="*/ 5944708 w 5944708"/>
              <a:gd name="connsiteY2" fmla="*/ 49215 h 1456414"/>
              <a:gd name="connsiteX3" fmla="*/ 5521058 w 5944708"/>
              <a:gd name="connsiteY3" fmla="*/ 1392737 h 1456414"/>
              <a:gd name="connsiteX4" fmla="*/ 35464 w 5944708"/>
              <a:gd name="connsiteY4" fmla="*/ 1456414 h 1456414"/>
              <a:gd name="connsiteX0" fmla="*/ 0 w 5948312"/>
              <a:gd name="connsiteY0" fmla="*/ 1512717 h 1512717"/>
              <a:gd name="connsiteX1" fmla="*/ 3604 w 5948312"/>
              <a:gd name="connsiteY1" fmla="*/ 0 h 1512717"/>
              <a:gd name="connsiteX2" fmla="*/ 5948312 w 5948312"/>
              <a:gd name="connsiteY2" fmla="*/ 49215 h 1512717"/>
              <a:gd name="connsiteX3" fmla="*/ 5524662 w 5948312"/>
              <a:gd name="connsiteY3" fmla="*/ 1392737 h 1512717"/>
              <a:gd name="connsiteX4" fmla="*/ 0 w 5948312"/>
              <a:gd name="connsiteY4" fmla="*/ 1512717 h 1512717"/>
              <a:gd name="connsiteX0" fmla="*/ 0 w 5948312"/>
              <a:gd name="connsiteY0" fmla="*/ 1456414 h 1456414"/>
              <a:gd name="connsiteX1" fmla="*/ 3604 w 5948312"/>
              <a:gd name="connsiteY1" fmla="*/ 0 h 1456414"/>
              <a:gd name="connsiteX2" fmla="*/ 5948312 w 5948312"/>
              <a:gd name="connsiteY2" fmla="*/ 49215 h 1456414"/>
              <a:gd name="connsiteX3" fmla="*/ 5524662 w 5948312"/>
              <a:gd name="connsiteY3" fmla="*/ 1392737 h 1456414"/>
              <a:gd name="connsiteX4" fmla="*/ 0 w 5948312"/>
              <a:gd name="connsiteY4" fmla="*/ 1456414 h 1456414"/>
              <a:gd name="connsiteX0" fmla="*/ 0 w 5930325"/>
              <a:gd name="connsiteY0" fmla="*/ 1465280 h 1465280"/>
              <a:gd name="connsiteX1" fmla="*/ 3604 w 5930325"/>
              <a:gd name="connsiteY1" fmla="*/ 8866 h 1465280"/>
              <a:gd name="connsiteX2" fmla="*/ 5930325 w 5930325"/>
              <a:gd name="connsiteY2" fmla="*/ 0 h 1465280"/>
              <a:gd name="connsiteX3" fmla="*/ 5524662 w 5930325"/>
              <a:gd name="connsiteY3" fmla="*/ 1401603 h 1465280"/>
              <a:gd name="connsiteX4" fmla="*/ 0 w 5930325"/>
              <a:gd name="connsiteY4" fmla="*/ 1465280 h 146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30325" h="1465280">
                <a:moveTo>
                  <a:pt x="0" y="1465280"/>
                </a:moveTo>
                <a:cubicBezTo>
                  <a:pt x="1201" y="961041"/>
                  <a:pt x="2403" y="513105"/>
                  <a:pt x="3604" y="8866"/>
                </a:cubicBezTo>
                <a:lnTo>
                  <a:pt x="5930325" y="0"/>
                </a:lnTo>
                <a:lnTo>
                  <a:pt x="5524662" y="1401603"/>
                </a:lnTo>
                <a:lnTo>
                  <a:pt x="0" y="1465280"/>
                </a:lnTo>
                <a:close/>
              </a:path>
            </a:pathLst>
          </a:custGeom>
          <a:solidFill>
            <a:schemeClr val="bg1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80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411E89AE-B250-4B7D-9DD0-0C08CFCC110D}"/>
              </a:ext>
            </a:extLst>
          </p:cNvPr>
          <p:cNvSpPr txBox="1">
            <a:spLocks/>
          </p:cNvSpPr>
          <p:nvPr/>
        </p:nvSpPr>
        <p:spPr>
          <a:xfrm>
            <a:off x="-1" y="93022"/>
            <a:ext cx="10520414" cy="86277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4400" b="1">
                <a:solidFill>
                  <a:srgbClr val="FFFFFF"/>
                </a:solidFill>
                <a:latin typeface="Porsche Next TT"/>
              </a:rPr>
              <a:t>Package: </a:t>
            </a:r>
            <a:r>
              <a:rPr lang="de-DE" sz="4400" b="1" err="1">
                <a:solidFill>
                  <a:srgbClr val="FFFFFF"/>
                </a:solidFill>
                <a:latin typeface="Porsche Next TT"/>
              </a:rPr>
              <a:t>Summarytools</a:t>
            </a:r>
            <a:endParaRPr lang="de-DE" sz="4400" b="1">
              <a:solidFill>
                <a:srgbClr val="FFFFFF"/>
              </a:solidFill>
              <a:latin typeface="Porsche Next TT"/>
            </a:endParaRPr>
          </a:p>
        </p:txBody>
      </p:sp>
      <p:sp>
        <p:nvSpPr>
          <p:cNvPr id="8" name="Parallelogramm 5">
            <a:extLst>
              <a:ext uri="{FF2B5EF4-FFF2-40B4-BE49-F238E27FC236}">
                <a16:creationId xmlns:a16="http://schemas.microsoft.com/office/drawing/2014/main" id="{835346B4-272E-4792-8D7C-C14B23B95358}"/>
              </a:ext>
            </a:extLst>
          </p:cNvPr>
          <p:cNvSpPr/>
          <p:nvPr/>
        </p:nvSpPr>
        <p:spPr>
          <a:xfrm flipH="1">
            <a:off x="6154191" y="6415392"/>
            <a:ext cx="6046396" cy="474357"/>
          </a:xfrm>
          <a:custGeom>
            <a:avLst/>
            <a:gdLst>
              <a:gd name="connsiteX0" fmla="*/ 0 w 6411625"/>
              <a:gd name="connsiteY0" fmla="*/ 1426307 h 1426307"/>
              <a:gd name="connsiteX1" fmla="*/ 356577 w 6411625"/>
              <a:gd name="connsiteY1" fmla="*/ 0 h 1426307"/>
              <a:gd name="connsiteX2" fmla="*/ 6411625 w 6411625"/>
              <a:gd name="connsiteY2" fmla="*/ 0 h 1426307"/>
              <a:gd name="connsiteX3" fmla="*/ 6055048 w 6411625"/>
              <a:gd name="connsiteY3" fmla="*/ 1426307 h 1426307"/>
              <a:gd name="connsiteX4" fmla="*/ 0 w 6411625"/>
              <a:gd name="connsiteY4" fmla="*/ 1426307 h 1426307"/>
              <a:gd name="connsiteX0" fmla="*/ 0 w 6069879"/>
              <a:gd name="connsiteY0" fmla="*/ 1463253 h 1463253"/>
              <a:gd name="connsiteX1" fmla="*/ 14831 w 6069879"/>
              <a:gd name="connsiteY1" fmla="*/ 0 h 1463253"/>
              <a:gd name="connsiteX2" fmla="*/ 6069879 w 6069879"/>
              <a:gd name="connsiteY2" fmla="*/ 0 h 1463253"/>
              <a:gd name="connsiteX3" fmla="*/ 5713302 w 6069879"/>
              <a:gd name="connsiteY3" fmla="*/ 1426307 h 1463253"/>
              <a:gd name="connsiteX4" fmla="*/ 0 w 6069879"/>
              <a:gd name="connsiteY4" fmla="*/ 1463253 h 1463253"/>
              <a:gd name="connsiteX0" fmla="*/ 0 w 6069879"/>
              <a:gd name="connsiteY0" fmla="*/ 1463253 h 1463253"/>
              <a:gd name="connsiteX1" fmla="*/ 14831 w 6069879"/>
              <a:gd name="connsiteY1" fmla="*/ 0 h 1463253"/>
              <a:gd name="connsiteX2" fmla="*/ 6069879 w 6069879"/>
              <a:gd name="connsiteY2" fmla="*/ 0 h 1463253"/>
              <a:gd name="connsiteX3" fmla="*/ 5451806 w 6069879"/>
              <a:gd name="connsiteY3" fmla="*/ 1399576 h 1463253"/>
              <a:gd name="connsiteX4" fmla="*/ 0 w 6069879"/>
              <a:gd name="connsiteY4" fmla="*/ 1463253 h 1463253"/>
              <a:gd name="connsiteX0" fmla="*/ 0 w 5694485"/>
              <a:gd name="connsiteY0" fmla="*/ 1463253 h 1463253"/>
              <a:gd name="connsiteX1" fmla="*/ 14831 w 5694485"/>
              <a:gd name="connsiteY1" fmla="*/ 0 h 1463253"/>
              <a:gd name="connsiteX2" fmla="*/ 5694485 w 5694485"/>
              <a:gd name="connsiteY2" fmla="*/ 49212 h 1463253"/>
              <a:gd name="connsiteX3" fmla="*/ 5451806 w 5694485"/>
              <a:gd name="connsiteY3" fmla="*/ 1399576 h 1463253"/>
              <a:gd name="connsiteX4" fmla="*/ 0 w 5694485"/>
              <a:gd name="connsiteY4" fmla="*/ 1463253 h 1463253"/>
              <a:gd name="connsiteX0" fmla="*/ 118000 w 5812485"/>
              <a:gd name="connsiteY0" fmla="*/ 1414041 h 1414041"/>
              <a:gd name="connsiteX1" fmla="*/ 0 w 5812485"/>
              <a:gd name="connsiteY1" fmla="*/ 0 h 1414041"/>
              <a:gd name="connsiteX2" fmla="*/ 5812485 w 5812485"/>
              <a:gd name="connsiteY2" fmla="*/ 0 h 1414041"/>
              <a:gd name="connsiteX3" fmla="*/ 5569806 w 5812485"/>
              <a:gd name="connsiteY3" fmla="*/ 1350364 h 1414041"/>
              <a:gd name="connsiteX4" fmla="*/ 118000 w 5812485"/>
              <a:gd name="connsiteY4" fmla="*/ 1414041 h 1414041"/>
              <a:gd name="connsiteX0" fmla="*/ 882 w 5812485"/>
              <a:gd name="connsiteY0" fmla="*/ 1442799 h 1442799"/>
              <a:gd name="connsiteX1" fmla="*/ 0 w 5812485"/>
              <a:gd name="connsiteY1" fmla="*/ 0 h 1442799"/>
              <a:gd name="connsiteX2" fmla="*/ 5812485 w 5812485"/>
              <a:gd name="connsiteY2" fmla="*/ 0 h 1442799"/>
              <a:gd name="connsiteX3" fmla="*/ 5569806 w 5812485"/>
              <a:gd name="connsiteY3" fmla="*/ 1350364 h 1442799"/>
              <a:gd name="connsiteX4" fmla="*/ 882 w 5812485"/>
              <a:gd name="connsiteY4" fmla="*/ 1442799 h 1442799"/>
              <a:gd name="connsiteX0" fmla="*/ 882 w 5812485"/>
              <a:gd name="connsiteY0" fmla="*/ 1442799 h 1493415"/>
              <a:gd name="connsiteX1" fmla="*/ 0 w 5812485"/>
              <a:gd name="connsiteY1" fmla="*/ 0 h 1493415"/>
              <a:gd name="connsiteX2" fmla="*/ 5812485 w 5812485"/>
              <a:gd name="connsiteY2" fmla="*/ 0 h 1493415"/>
              <a:gd name="connsiteX3" fmla="*/ 5538070 w 5812485"/>
              <a:gd name="connsiteY3" fmla="*/ 1493415 h 1493415"/>
              <a:gd name="connsiteX4" fmla="*/ 882 w 5812485"/>
              <a:gd name="connsiteY4" fmla="*/ 1442799 h 1493415"/>
              <a:gd name="connsiteX0" fmla="*/ 0 w 5822182"/>
              <a:gd name="connsiteY0" fmla="*/ 1544977 h 1544977"/>
              <a:gd name="connsiteX1" fmla="*/ 9697 w 5822182"/>
              <a:gd name="connsiteY1" fmla="*/ 0 h 1544977"/>
              <a:gd name="connsiteX2" fmla="*/ 5822182 w 5822182"/>
              <a:gd name="connsiteY2" fmla="*/ 0 h 1544977"/>
              <a:gd name="connsiteX3" fmla="*/ 5547767 w 5822182"/>
              <a:gd name="connsiteY3" fmla="*/ 1493415 h 1544977"/>
              <a:gd name="connsiteX4" fmla="*/ 0 w 5822182"/>
              <a:gd name="connsiteY4" fmla="*/ 1544977 h 1544977"/>
              <a:gd name="connsiteX0" fmla="*/ 0 w 5822182"/>
              <a:gd name="connsiteY0" fmla="*/ 1544977 h 1544977"/>
              <a:gd name="connsiteX1" fmla="*/ 4407 w 5822182"/>
              <a:gd name="connsiteY1" fmla="*/ 20436 h 1544977"/>
              <a:gd name="connsiteX2" fmla="*/ 5822182 w 5822182"/>
              <a:gd name="connsiteY2" fmla="*/ 0 h 1544977"/>
              <a:gd name="connsiteX3" fmla="*/ 5547767 w 5822182"/>
              <a:gd name="connsiteY3" fmla="*/ 1493415 h 1544977"/>
              <a:gd name="connsiteX4" fmla="*/ 0 w 5822182"/>
              <a:gd name="connsiteY4" fmla="*/ 1544977 h 1544977"/>
              <a:gd name="connsiteX0" fmla="*/ 0 w 6030152"/>
              <a:gd name="connsiteY0" fmla="*/ 1524541 h 1524541"/>
              <a:gd name="connsiteX1" fmla="*/ 4407 w 6030152"/>
              <a:gd name="connsiteY1" fmla="*/ 0 h 1524541"/>
              <a:gd name="connsiteX2" fmla="*/ 6030152 w 6030152"/>
              <a:gd name="connsiteY2" fmla="*/ 10218 h 1524541"/>
              <a:gd name="connsiteX3" fmla="*/ 5547767 w 6030152"/>
              <a:gd name="connsiteY3" fmla="*/ 1472979 h 1524541"/>
              <a:gd name="connsiteX4" fmla="*/ 0 w 6030152"/>
              <a:gd name="connsiteY4" fmla="*/ 1524541 h 1524541"/>
              <a:gd name="connsiteX0" fmla="*/ 0 w 6030152"/>
              <a:gd name="connsiteY0" fmla="*/ 1524541 h 1524541"/>
              <a:gd name="connsiteX1" fmla="*/ 4407 w 6030152"/>
              <a:gd name="connsiteY1" fmla="*/ 0 h 1524541"/>
              <a:gd name="connsiteX2" fmla="*/ 6030152 w 6030152"/>
              <a:gd name="connsiteY2" fmla="*/ 10218 h 1524541"/>
              <a:gd name="connsiteX3" fmla="*/ 5834963 w 6030152"/>
              <a:gd name="connsiteY3" fmla="*/ 1442325 h 1524541"/>
              <a:gd name="connsiteX4" fmla="*/ 0 w 6030152"/>
              <a:gd name="connsiteY4" fmla="*/ 1524541 h 1524541"/>
              <a:gd name="connsiteX0" fmla="*/ 0 w 6030152"/>
              <a:gd name="connsiteY0" fmla="*/ 1524541 h 1524541"/>
              <a:gd name="connsiteX1" fmla="*/ 4407 w 6030152"/>
              <a:gd name="connsiteY1" fmla="*/ 0 h 1524541"/>
              <a:gd name="connsiteX2" fmla="*/ 6030152 w 6030152"/>
              <a:gd name="connsiteY2" fmla="*/ 10218 h 1524541"/>
              <a:gd name="connsiteX3" fmla="*/ 5884480 w 6030152"/>
              <a:gd name="connsiteY3" fmla="*/ 1442325 h 1524541"/>
              <a:gd name="connsiteX4" fmla="*/ 0 w 6030152"/>
              <a:gd name="connsiteY4" fmla="*/ 1524541 h 1524541"/>
              <a:gd name="connsiteX0" fmla="*/ 0 w 6286555"/>
              <a:gd name="connsiteY0" fmla="*/ 1524541 h 1524541"/>
              <a:gd name="connsiteX1" fmla="*/ 4407 w 6286555"/>
              <a:gd name="connsiteY1" fmla="*/ 0 h 1524541"/>
              <a:gd name="connsiteX2" fmla="*/ 6030152 w 6286555"/>
              <a:gd name="connsiteY2" fmla="*/ 10218 h 1524541"/>
              <a:gd name="connsiteX3" fmla="*/ 6286555 w 6286555"/>
              <a:gd name="connsiteY3" fmla="*/ 1448456 h 1524541"/>
              <a:gd name="connsiteX4" fmla="*/ 0 w 6286555"/>
              <a:gd name="connsiteY4" fmla="*/ 1524541 h 1524541"/>
              <a:gd name="connsiteX0" fmla="*/ 0 w 6286555"/>
              <a:gd name="connsiteY0" fmla="*/ 1524541 h 1524541"/>
              <a:gd name="connsiteX1" fmla="*/ 4407 w 6286555"/>
              <a:gd name="connsiteY1" fmla="*/ 0 h 1524541"/>
              <a:gd name="connsiteX2" fmla="*/ 5933099 w 6286555"/>
              <a:gd name="connsiteY2" fmla="*/ 4087 h 1524541"/>
              <a:gd name="connsiteX3" fmla="*/ 6286555 w 6286555"/>
              <a:gd name="connsiteY3" fmla="*/ 1448456 h 1524541"/>
              <a:gd name="connsiteX4" fmla="*/ 0 w 6286555"/>
              <a:gd name="connsiteY4" fmla="*/ 1524541 h 1524541"/>
              <a:gd name="connsiteX0" fmla="*/ 0 w 6286555"/>
              <a:gd name="connsiteY0" fmla="*/ 1526585 h 1526585"/>
              <a:gd name="connsiteX1" fmla="*/ 4407 w 6286555"/>
              <a:gd name="connsiteY1" fmla="*/ 2044 h 1526585"/>
              <a:gd name="connsiteX2" fmla="*/ 6012326 w 6286555"/>
              <a:gd name="connsiteY2" fmla="*/ 0 h 1526585"/>
              <a:gd name="connsiteX3" fmla="*/ 6286555 w 6286555"/>
              <a:gd name="connsiteY3" fmla="*/ 1450500 h 1526585"/>
              <a:gd name="connsiteX4" fmla="*/ 0 w 6286555"/>
              <a:gd name="connsiteY4" fmla="*/ 1526585 h 15265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86555" h="1526585">
                <a:moveTo>
                  <a:pt x="0" y="1526585"/>
                </a:moveTo>
                <a:cubicBezTo>
                  <a:pt x="3232" y="1011593"/>
                  <a:pt x="1175" y="517036"/>
                  <a:pt x="4407" y="2044"/>
                </a:cubicBezTo>
                <a:lnTo>
                  <a:pt x="6012326" y="0"/>
                </a:lnTo>
                <a:lnTo>
                  <a:pt x="6286555" y="1450500"/>
                </a:lnTo>
                <a:lnTo>
                  <a:pt x="0" y="1526585"/>
                </a:lnTo>
                <a:close/>
              </a:path>
            </a:pathLst>
          </a:custGeom>
          <a:solidFill>
            <a:schemeClr val="bg1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de-DE" sz="2000" b="1"/>
              <a:t>   Eine Präsentation von Luca Jetter &amp; Jonas Gagelmann</a:t>
            </a:r>
          </a:p>
        </p:txBody>
      </p:sp>
      <p:pic>
        <p:nvPicPr>
          <p:cNvPr id="9" name="Grafik 8" descr="Ein Bild, das Text, draußen, Schild enthält.&#10;&#10;Automatisch generierte Beschreibung">
            <a:extLst>
              <a:ext uri="{FF2B5EF4-FFF2-40B4-BE49-F238E27FC236}">
                <a16:creationId xmlns:a16="http://schemas.microsoft.com/office/drawing/2014/main" id="{47DD97B0-448E-45E6-A997-05B6D01FE89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9576" y="195119"/>
            <a:ext cx="2008058" cy="2326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439239"/>
      </p:ext>
    </p:extLst>
  </p:cSld>
  <p:clrMapOvr>
    <a:masterClrMapping/>
  </p:clrMapOvr>
  <p:transition spd="slow">
    <p:wip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E07506AB-41C7-4784-8465-B01B131938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/>
              <a:t>freq</a:t>
            </a:r>
            <a:r>
              <a:rPr lang="de-DE"/>
              <a:t>()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41482012-D536-440D-831E-F9A43EB271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9990" y="2276779"/>
            <a:ext cx="11142009" cy="2754258"/>
          </a:xfrm>
          <a:prstGeom prst="rect">
            <a:avLst/>
          </a:prstGeom>
        </p:spPr>
      </p:pic>
      <p:sp>
        <p:nvSpPr>
          <p:cNvPr id="7" name="textBoxChapter">
            <a:extLst>
              <a:ext uri="{FF2B5EF4-FFF2-40B4-BE49-F238E27FC236}">
                <a16:creationId xmlns:a16="http://schemas.microsoft.com/office/drawing/2014/main" id="{310C8B0F-3293-4D7F-927A-7D0CD92E563E}"/>
              </a:ext>
            </a:extLst>
          </p:cNvPr>
          <p:cNvSpPr txBox="1"/>
          <p:nvPr/>
        </p:nvSpPr>
        <p:spPr>
          <a:xfrm>
            <a:off x="2609314" y="6454379"/>
            <a:ext cx="6973372" cy="37110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unktionen/ </a:t>
            </a:r>
            <a:r>
              <a:rPr lang="de-DE" sz="1800" err="1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req</a:t>
            </a:r>
            <a:r>
              <a:rPr lang="de-DE" sz="180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endParaRPr kumimoji="0" lang="de-DE" sz="167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rsche Next TT" panose="020B0504020101010102" pitchFamily="34" charset="0"/>
              <a:ea typeface="+mn-ea"/>
              <a:cs typeface="+mn-cs"/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D1AF5D96-A58D-456C-8ABD-6718679BD1DE}"/>
              </a:ext>
            </a:extLst>
          </p:cNvPr>
          <p:cNvGrpSpPr/>
          <p:nvPr/>
        </p:nvGrpSpPr>
        <p:grpSpPr>
          <a:xfrm>
            <a:off x="1049991" y="1183341"/>
            <a:ext cx="11916709" cy="617969"/>
            <a:chOff x="1049991" y="1183341"/>
            <a:chExt cx="11916709" cy="617969"/>
          </a:xfrm>
        </p:grpSpPr>
        <p:sp>
          <p:nvSpPr>
            <p:cNvPr id="9" name="Rechteck 5">
              <a:extLst>
                <a:ext uri="{FF2B5EF4-FFF2-40B4-BE49-F238E27FC236}">
                  <a16:creationId xmlns:a16="http://schemas.microsoft.com/office/drawing/2014/main" id="{B34ED740-C622-4D6E-AF10-955A092A6CE0}"/>
                </a:ext>
              </a:extLst>
            </p:cNvPr>
            <p:cNvSpPr/>
            <p:nvPr/>
          </p:nvSpPr>
          <p:spPr>
            <a:xfrm>
              <a:off x="1049991" y="1183341"/>
              <a:ext cx="11916709" cy="442707"/>
            </a:xfrm>
            <a:custGeom>
              <a:avLst/>
              <a:gdLst>
                <a:gd name="connsiteX0" fmla="*/ 0 w 9681883"/>
                <a:gd name="connsiteY0" fmla="*/ 0 h 442707"/>
                <a:gd name="connsiteX1" fmla="*/ 9681883 w 9681883"/>
                <a:gd name="connsiteY1" fmla="*/ 0 h 442707"/>
                <a:gd name="connsiteX2" fmla="*/ 9681883 w 9681883"/>
                <a:gd name="connsiteY2" fmla="*/ 442707 h 442707"/>
                <a:gd name="connsiteX3" fmla="*/ 0 w 9681883"/>
                <a:gd name="connsiteY3" fmla="*/ 442707 h 442707"/>
                <a:gd name="connsiteX4" fmla="*/ 0 w 9681883"/>
                <a:gd name="connsiteY4" fmla="*/ 0 h 442707"/>
                <a:gd name="connsiteX0" fmla="*/ 0 w 9681883"/>
                <a:gd name="connsiteY0" fmla="*/ 0 h 442707"/>
                <a:gd name="connsiteX1" fmla="*/ 9049872 w 9681883"/>
                <a:gd name="connsiteY1" fmla="*/ 0 h 442707"/>
                <a:gd name="connsiteX2" fmla="*/ 9681883 w 9681883"/>
                <a:gd name="connsiteY2" fmla="*/ 442707 h 442707"/>
                <a:gd name="connsiteX3" fmla="*/ 0 w 9681883"/>
                <a:gd name="connsiteY3" fmla="*/ 442707 h 442707"/>
                <a:gd name="connsiteX4" fmla="*/ 0 w 9681883"/>
                <a:gd name="connsiteY4" fmla="*/ 0 h 442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681883" h="442707">
                  <a:moveTo>
                    <a:pt x="0" y="0"/>
                  </a:moveTo>
                  <a:lnTo>
                    <a:pt x="9049872" y="0"/>
                  </a:lnTo>
                  <a:lnTo>
                    <a:pt x="9681883" y="442707"/>
                  </a:lnTo>
                  <a:lnTo>
                    <a:pt x="0" y="44270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EEEEE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err="1">
                <a:solidFill>
                  <a:schemeClr val="tx1"/>
                </a:solidFill>
              </a:endParaRPr>
            </a:p>
          </p:txBody>
        </p:sp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1F2075EA-5AA3-4A04-A46D-91330475A8B7}"/>
                </a:ext>
              </a:extLst>
            </p:cNvPr>
            <p:cNvSpPr txBox="1"/>
            <p:nvPr/>
          </p:nvSpPr>
          <p:spPr>
            <a:xfrm>
              <a:off x="1128993" y="1247312"/>
              <a:ext cx="9883588" cy="55399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err="1">
                  <a:solidFill>
                    <a:srgbClr val="3A6B9B"/>
                  </a:solidFill>
                </a:rPr>
                <a:t>freq</a:t>
              </a:r>
              <a:r>
                <a:rPr lang="en-US" sz="2000" b="1">
                  <a:solidFill>
                    <a:srgbClr val="3A6B9B"/>
                  </a:solidFill>
                </a:rPr>
                <a:t>(</a:t>
              </a:r>
              <a:r>
                <a:rPr lang="en-US" sz="2000" b="1" err="1">
                  <a:solidFill>
                    <a:srgbClr val="3A6B9B"/>
                  </a:solidFill>
                </a:rPr>
                <a:t>happiness$Regional.indicator</a:t>
              </a:r>
              <a:r>
                <a:rPr lang="en-US" sz="2000" b="1">
                  <a:solidFill>
                    <a:srgbClr val="3A6B9B"/>
                  </a:solidFill>
                </a:rPr>
                <a:t>, </a:t>
              </a:r>
              <a:r>
                <a:rPr lang="en-US" sz="2000" b="1">
                  <a:solidFill>
                    <a:srgbClr val="658E11"/>
                  </a:solidFill>
                </a:rPr>
                <a:t>order = "</a:t>
              </a:r>
              <a:r>
                <a:rPr lang="en-US" sz="2000" b="1" err="1">
                  <a:solidFill>
                    <a:srgbClr val="658E11"/>
                  </a:solidFill>
                </a:rPr>
                <a:t>freq</a:t>
              </a:r>
              <a:r>
                <a:rPr lang="en-US" sz="2000" b="1">
                  <a:solidFill>
                    <a:srgbClr val="3A6B9B"/>
                  </a:solidFill>
                </a:rPr>
                <a:t>", rows = 1:5, headings = FALSE)</a:t>
              </a:r>
            </a:p>
            <a:p>
              <a:endParaRPr lang="de-DE" sz="1600" err="1"/>
            </a:p>
          </p:txBody>
        </p:sp>
      </p:grpSp>
      <p:sp>
        <p:nvSpPr>
          <p:cNvPr id="2" name="Rechteck 1">
            <a:extLst>
              <a:ext uri="{FF2B5EF4-FFF2-40B4-BE49-F238E27FC236}">
                <a16:creationId xmlns:a16="http://schemas.microsoft.com/office/drawing/2014/main" id="{C161C4C0-252B-436D-8E8B-E6CB31A2DBD3}"/>
              </a:ext>
            </a:extLst>
          </p:cNvPr>
          <p:cNvSpPr/>
          <p:nvPr/>
        </p:nvSpPr>
        <p:spPr>
          <a:xfrm>
            <a:off x="5181600" y="2349061"/>
            <a:ext cx="933450" cy="2403913"/>
          </a:xfrm>
          <a:prstGeom prst="rect">
            <a:avLst/>
          </a:prstGeom>
          <a:solidFill>
            <a:srgbClr val="00FF2F">
              <a:alpha val="30000"/>
            </a:srgb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6841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E07506AB-41C7-4784-8465-B01B131938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/>
              <a:t>freq</a:t>
            </a:r>
            <a:r>
              <a:rPr lang="de-DE"/>
              <a:t>()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41482012-D536-440D-831E-F9A43EB271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9990" y="2276779"/>
            <a:ext cx="11142009" cy="2754258"/>
          </a:xfrm>
          <a:prstGeom prst="rect">
            <a:avLst/>
          </a:prstGeom>
        </p:spPr>
      </p:pic>
      <p:sp>
        <p:nvSpPr>
          <p:cNvPr id="7" name="textBoxChapter">
            <a:extLst>
              <a:ext uri="{FF2B5EF4-FFF2-40B4-BE49-F238E27FC236}">
                <a16:creationId xmlns:a16="http://schemas.microsoft.com/office/drawing/2014/main" id="{310C8B0F-3293-4D7F-927A-7D0CD92E563E}"/>
              </a:ext>
            </a:extLst>
          </p:cNvPr>
          <p:cNvSpPr txBox="1"/>
          <p:nvPr/>
        </p:nvSpPr>
        <p:spPr>
          <a:xfrm>
            <a:off x="2609314" y="6454379"/>
            <a:ext cx="6973372" cy="37110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unktionen/ </a:t>
            </a:r>
            <a:r>
              <a:rPr lang="de-DE" sz="1800" err="1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req</a:t>
            </a:r>
            <a:r>
              <a:rPr lang="de-DE" sz="180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endParaRPr kumimoji="0" lang="de-DE" sz="167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rsche Next TT" panose="020B0504020101010102" pitchFamily="34" charset="0"/>
              <a:ea typeface="+mn-ea"/>
              <a:cs typeface="+mn-cs"/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D1AF5D96-A58D-456C-8ABD-6718679BD1DE}"/>
              </a:ext>
            </a:extLst>
          </p:cNvPr>
          <p:cNvGrpSpPr/>
          <p:nvPr/>
        </p:nvGrpSpPr>
        <p:grpSpPr>
          <a:xfrm>
            <a:off x="1049991" y="1183341"/>
            <a:ext cx="11916709" cy="617969"/>
            <a:chOff x="1049991" y="1183341"/>
            <a:chExt cx="11916709" cy="617969"/>
          </a:xfrm>
        </p:grpSpPr>
        <p:sp>
          <p:nvSpPr>
            <p:cNvPr id="9" name="Rechteck 5">
              <a:extLst>
                <a:ext uri="{FF2B5EF4-FFF2-40B4-BE49-F238E27FC236}">
                  <a16:creationId xmlns:a16="http://schemas.microsoft.com/office/drawing/2014/main" id="{B34ED740-C622-4D6E-AF10-955A092A6CE0}"/>
                </a:ext>
              </a:extLst>
            </p:cNvPr>
            <p:cNvSpPr/>
            <p:nvPr/>
          </p:nvSpPr>
          <p:spPr>
            <a:xfrm>
              <a:off x="1049991" y="1183341"/>
              <a:ext cx="11916709" cy="442707"/>
            </a:xfrm>
            <a:custGeom>
              <a:avLst/>
              <a:gdLst>
                <a:gd name="connsiteX0" fmla="*/ 0 w 9681883"/>
                <a:gd name="connsiteY0" fmla="*/ 0 h 442707"/>
                <a:gd name="connsiteX1" fmla="*/ 9681883 w 9681883"/>
                <a:gd name="connsiteY1" fmla="*/ 0 h 442707"/>
                <a:gd name="connsiteX2" fmla="*/ 9681883 w 9681883"/>
                <a:gd name="connsiteY2" fmla="*/ 442707 h 442707"/>
                <a:gd name="connsiteX3" fmla="*/ 0 w 9681883"/>
                <a:gd name="connsiteY3" fmla="*/ 442707 h 442707"/>
                <a:gd name="connsiteX4" fmla="*/ 0 w 9681883"/>
                <a:gd name="connsiteY4" fmla="*/ 0 h 442707"/>
                <a:gd name="connsiteX0" fmla="*/ 0 w 9681883"/>
                <a:gd name="connsiteY0" fmla="*/ 0 h 442707"/>
                <a:gd name="connsiteX1" fmla="*/ 9049872 w 9681883"/>
                <a:gd name="connsiteY1" fmla="*/ 0 h 442707"/>
                <a:gd name="connsiteX2" fmla="*/ 9681883 w 9681883"/>
                <a:gd name="connsiteY2" fmla="*/ 442707 h 442707"/>
                <a:gd name="connsiteX3" fmla="*/ 0 w 9681883"/>
                <a:gd name="connsiteY3" fmla="*/ 442707 h 442707"/>
                <a:gd name="connsiteX4" fmla="*/ 0 w 9681883"/>
                <a:gd name="connsiteY4" fmla="*/ 0 h 442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681883" h="442707">
                  <a:moveTo>
                    <a:pt x="0" y="0"/>
                  </a:moveTo>
                  <a:lnTo>
                    <a:pt x="9049872" y="0"/>
                  </a:lnTo>
                  <a:lnTo>
                    <a:pt x="9681883" y="442707"/>
                  </a:lnTo>
                  <a:lnTo>
                    <a:pt x="0" y="44270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EEEEE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err="1">
                <a:solidFill>
                  <a:schemeClr val="tx1"/>
                </a:solidFill>
              </a:endParaRPr>
            </a:p>
          </p:txBody>
        </p:sp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1F2075EA-5AA3-4A04-A46D-91330475A8B7}"/>
                </a:ext>
              </a:extLst>
            </p:cNvPr>
            <p:cNvSpPr txBox="1"/>
            <p:nvPr/>
          </p:nvSpPr>
          <p:spPr>
            <a:xfrm>
              <a:off x="1128993" y="1247312"/>
              <a:ext cx="9883588" cy="55399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en-US" sz="2000" b="1" err="1">
                  <a:solidFill>
                    <a:srgbClr val="3A6B9B"/>
                  </a:solidFill>
                </a:rPr>
                <a:t>freq</a:t>
              </a:r>
              <a:r>
                <a:rPr lang="en-US" sz="2000" b="1">
                  <a:solidFill>
                    <a:srgbClr val="3A6B9B"/>
                  </a:solidFill>
                </a:rPr>
                <a:t>(</a:t>
              </a:r>
              <a:r>
                <a:rPr lang="en-US" sz="2000" b="1" err="1">
                  <a:solidFill>
                    <a:srgbClr val="3A6B9B"/>
                  </a:solidFill>
                </a:rPr>
                <a:t>happiness$Regional.indicator</a:t>
              </a:r>
              <a:r>
                <a:rPr lang="en-US" sz="2000" b="1">
                  <a:solidFill>
                    <a:srgbClr val="3A6B9B"/>
                  </a:solidFill>
                </a:rPr>
                <a:t>, order = "</a:t>
              </a:r>
              <a:r>
                <a:rPr lang="en-US" sz="2000" b="1" err="1">
                  <a:solidFill>
                    <a:srgbClr val="3A6B9B"/>
                  </a:solidFill>
                </a:rPr>
                <a:t>freq</a:t>
              </a:r>
              <a:r>
                <a:rPr lang="en-US" sz="2000" b="1">
                  <a:solidFill>
                    <a:srgbClr val="3A6B9B"/>
                  </a:solidFill>
                </a:rPr>
                <a:t>", </a:t>
              </a:r>
              <a:r>
                <a:rPr lang="en-US" sz="2000" b="1">
                  <a:solidFill>
                    <a:schemeClr val="accent2"/>
                  </a:solidFill>
                </a:rPr>
                <a:t>rows = 1:5</a:t>
              </a:r>
              <a:r>
                <a:rPr lang="en-US" sz="2000" b="1">
                  <a:solidFill>
                    <a:srgbClr val="3A6B9B"/>
                  </a:solidFill>
                </a:rPr>
                <a:t>, headings = FALSE)</a:t>
              </a:r>
            </a:p>
            <a:p>
              <a:endParaRPr lang="de-DE" sz="1600"/>
            </a:p>
          </p:txBody>
        </p:sp>
      </p:grpSp>
      <p:sp>
        <p:nvSpPr>
          <p:cNvPr id="11" name="Rechteck 10">
            <a:extLst>
              <a:ext uri="{FF2B5EF4-FFF2-40B4-BE49-F238E27FC236}">
                <a16:creationId xmlns:a16="http://schemas.microsoft.com/office/drawing/2014/main" id="{2F22C47A-B282-41B0-8D69-51CBD6D4FFA9}"/>
              </a:ext>
            </a:extLst>
          </p:cNvPr>
          <p:cNvSpPr/>
          <p:nvPr/>
        </p:nvSpPr>
        <p:spPr>
          <a:xfrm>
            <a:off x="4109296" y="4011415"/>
            <a:ext cx="1173904" cy="281185"/>
          </a:xfrm>
          <a:prstGeom prst="rect">
            <a:avLst/>
          </a:prstGeom>
          <a:solidFill>
            <a:srgbClr val="FF0000">
              <a:alpha val="34000"/>
            </a:srgb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err="1">
              <a:solidFill>
                <a:schemeClr val="tx1"/>
              </a:solidFill>
            </a:endParaRPr>
          </a:p>
        </p:txBody>
      </p:sp>
      <p:sp>
        <p:nvSpPr>
          <p:cNvPr id="2" name="Pfeil: nach links gekrümmt 1">
            <a:hlinkClick r:id="rId4" action="ppaction://hlinksldjump"/>
            <a:extLst>
              <a:ext uri="{FF2B5EF4-FFF2-40B4-BE49-F238E27FC236}">
                <a16:creationId xmlns:a16="http://schemas.microsoft.com/office/drawing/2014/main" id="{68BE68BE-E6DD-48A1-92E9-167BD13B88F3}"/>
              </a:ext>
            </a:extLst>
          </p:cNvPr>
          <p:cNvSpPr/>
          <p:nvPr/>
        </p:nvSpPr>
        <p:spPr>
          <a:xfrm>
            <a:off x="11159851" y="5181386"/>
            <a:ext cx="751840" cy="650240"/>
          </a:xfrm>
          <a:prstGeom prst="curvedLeftArrow">
            <a:avLst/>
          </a:prstGeom>
          <a:solidFill>
            <a:schemeClr val="accent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5336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EAB5E756-A797-4707-948B-5F1206BC4A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/>
              <a:t>ctable</a:t>
            </a:r>
            <a:r>
              <a:rPr lang="de-DE"/>
              <a:t>()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6E90D620-3773-4B15-99C3-336728AE6C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47408" y="1709422"/>
            <a:ext cx="7897183" cy="3346672"/>
          </a:xfrm>
          <a:prstGeom prst="rect">
            <a:avLst/>
          </a:prstGeom>
        </p:spPr>
      </p:pic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80044534-75BF-4D8D-9E59-3E4886D8B2B7}"/>
              </a:ext>
            </a:extLst>
          </p:cNvPr>
          <p:cNvGrpSpPr/>
          <p:nvPr/>
        </p:nvGrpSpPr>
        <p:grpSpPr>
          <a:xfrm>
            <a:off x="1049991" y="1183341"/>
            <a:ext cx="11916709" cy="442707"/>
            <a:chOff x="1049991" y="1183341"/>
            <a:chExt cx="11916709" cy="442707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9EBC5202-C8C8-461F-BF63-7490F4E2BFF3}"/>
                </a:ext>
              </a:extLst>
            </p:cNvPr>
            <p:cNvSpPr/>
            <p:nvPr/>
          </p:nvSpPr>
          <p:spPr>
            <a:xfrm>
              <a:off x="1049991" y="1183341"/>
              <a:ext cx="11916709" cy="442707"/>
            </a:xfrm>
            <a:custGeom>
              <a:avLst/>
              <a:gdLst>
                <a:gd name="connsiteX0" fmla="*/ 0 w 9681883"/>
                <a:gd name="connsiteY0" fmla="*/ 0 h 442707"/>
                <a:gd name="connsiteX1" fmla="*/ 9681883 w 9681883"/>
                <a:gd name="connsiteY1" fmla="*/ 0 h 442707"/>
                <a:gd name="connsiteX2" fmla="*/ 9681883 w 9681883"/>
                <a:gd name="connsiteY2" fmla="*/ 442707 h 442707"/>
                <a:gd name="connsiteX3" fmla="*/ 0 w 9681883"/>
                <a:gd name="connsiteY3" fmla="*/ 442707 h 442707"/>
                <a:gd name="connsiteX4" fmla="*/ 0 w 9681883"/>
                <a:gd name="connsiteY4" fmla="*/ 0 h 442707"/>
                <a:gd name="connsiteX0" fmla="*/ 0 w 9681883"/>
                <a:gd name="connsiteY0" fmla="*/ 0 h 442707"/>
                <a:gd name="connsiteX1" fmla="*/ 9049872 w 9681883"/>
                <a:gd name="connsiteY1" fmla="*/ 0 h 442707"/>
                <a:gd name="connsiteX2" fmla="*/ 9681883 w 9681883"/>
                <a:gd name="connsiteY2" fmla="*/ 442707 h 442707"/>
                <a:gd name="connsiteX3" fmla="*/ 0 w 9681883"/>
                <a:gd name="connsiteY3" fmla="*/ 442707 h 442707"/>
                <a:gd name="connsiteX4" fmla="*/ 0 w 9681883"/>
                <a:gd name="connsiteY4" fmla="*/ 0 h 442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681883" h="442707">
                  <a:moveTo>
                    <a:pt x="0" y="0"/>
                  </a:moveTo>
                  <a:lnTo>
                    <a:pt x="9049872" y="0"/>
                  </a:lnTo>
                  <a:lnTo>
                    <a:pt x="9681883" y="442707"/>
                  </a:lnTo>
                  <a:lnTo>
                    <a:pt x="0" y="44270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EEEEE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err="1">
                <a:solidFill>
                  <a:schemeClr val="tx1"/>
                </a:solidFill>
              </a:endParaRPr>
            </a:p>
          </p:txBody>
        </p:sp>
        <p:sp>
          <p:nvSpPr>
            <p:cNvPr id="5" name="Textfeld 4">
              <a:extLst>
                <a:ext uri="{FF2B5EF4-FFF2-40B4-BE49-F238E27FC236}">
                  <a16:creationId xmlns:a16="http://schemas.microsoft.com/office/drawing/2014/main" id="{162C9A52-42F4-4AEF-8717-8E90BB77C65A}"/>
                </a:ext>
              </a:extLst>
            </p:cNvPr>
            <p:cNvSpPr txBox="1"/>
            <p:nvPr/>
          </p:nvSpPr>
          <p:spPr>
            <a:xfrm>
              <a:off x="1154205" y="1247312"/>
              <a:ext cx="9883588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sz="2000" b="1" err="1">
                  <a:solidFill>
                    <a:srgbClr val="3A6B9B"/>
                  </a:solidFill>
                </a:rPr>
                <a:t>ctable</a:t>
              </a:r>
              <a:r>
                <a:rPr lang="de-DE" sz="2000" b="1">
                  <a:solidFill>
                    <a:srgbClr val="3A6B9B"/>
                  </a:solidFill>
                </a:rPr>
                <a:t>(</a:t>
              </a:r>
              <a:r>
                <a:rPr lang="de-DE" sz="2000" b="1">
                  <a:solidFill>
                    <a:srgbClr val="658E11"/>
                  </a:solidFill>
                </a:rPr>
                <a:t>x = </a:t>
              </a:r>
              <a:r>
                <a:rPr lang="de-DE" sz="2000" b="1" err="1">
                  <a:solidFill>
                    <a:srgbClr val="658E11"/>
                  </a:solidFill>
                </a:rPr>
                <a:t>tobacco$smoker</a:t>
              </a:r>
              <a:r>
                <a:rPr lang="de-DE" sz="2000" b="1">
                  <a:solidFill>
                    <a:srgbClr val="658E11"/>
                  </a:solidFill>
                </a:rPr>
                <a:t>, y = </a:t>
              </a:r>
              <a:r>
                <a:rPr lang="de-DE" sz="2000" b="1" err="1">
                  <a:solidFill>
                    <a:srgbClr val="658E11"/>
                  </a:solidFill>
                </a:rPr>
                <a:t>tobacco$diseased</a:t>
              </a:r>
              <a:r>
                <a:rPr lang="de-DE" sz="2000" b="1">
                  <a:solidFill>
                    <a:srgbClr val="658E11"/>
                  </a:solidFill>
                </a:rPr>
                <a:t>,</a:t>
              </a:r>
              <a:r>
                <a:rPr lang="de-DE" sz="2000" b="1">
                  <a:solidFill>
                    <a:srgbClr val="3A6B9B"/>
                  </a:solidFill>
                </a:rPr>
                <a:t> </a:t>
              </a:r>
              <a:r>
                <a:rPr lang="de-DE" sz="2000" b="1" err="1">
                  <a:solidFill>
                    <a:srgbClr val="3A6B9B"/>
                  </a:solidFill>
                </a:rPr>
                <a:t>prop</a:t>
              </a:r>
              <a:r>
                <a:rPr lang="de-DE" sz="2000" b="1">
                  <a:solidFill>
                    <a:srgbClr val="3A6B9B"/>
                  </a:solidFill>
                </a:rPr>
                <a:t> = "r")</a:t>
              </a:r>
              <a:endParaRPr lang="de-DE" sz="1600"/>
            </a:p>
          </p:txBody>
        </p:sp>
      </p:grpSp>
      <p:sp>
        <p:nvSpPr>
          <p:cNvPr id="10" name="textBoxChapter">
            <a:extLst>
              <a:ext uri="{FF2B5EF4-FFF2-40B4-BE49-F238E27FC236}">
                <a16:creationId xmlns:a16="http://schemas.microsoft.com/office/drawing/2014/main" id="{87F7DBB3-E3DE-46C0-85BF-569E7D321C27}"/>
              </a:ext>
            </a:extLst>
          </p:cNvPr>
          <p:cNvSpPr txBox="1"/>
          <p:nvPr/>
        </p:nvSpPr>
        <p:spPr>
          <a:xfrm>
            <a:off x="2609314" y="6454379"/>
            <a:ext cx="6973372" cy="37110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unktionen/ </a:t>
            </a:r>
            <a:r>
              <a:rPr lang="de-DE" sz="1800" err="1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table</a:t>
            </a:r>
            <a:r>
              <a:rPr lang="de-DE" sz="180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endParaRPr kumimoji="0" lang="de-DE" sz="167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rsche Next TT" panose="020B0504020101010102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658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EAB5E756-A797-4707-948B-5F1206BC4A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/>
              <a:t>ctable</a:t>
            </a:r>
            <a:r>
              <a:rPr lang="de-DE"/>
              <a:t>()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6E90D620-3773-4B15-99C3-336728AE6C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47408" y="1709422"/>
            <a:ext cx="7897183" cy="3346672"/>
          </a:xfrm>
          <a:prstGeom prst="rect">
            <a:avLst/>
          </a:prstGeom>
        </p:spPr>
      </p:pic>
      <p:sp>
        <p:nvSpPr>
          <p:cNvPr id="6" name="textBoxChapter">
            <a:extLst>
              <a:ext uri="{FF2B5EF4-FFF2-40B4-BE49-F238E27FC236}">
                <a16:creationId xmlns:a16="http://schemas.microsoft.com/office/drawing/2014/main" id="{DBDDDC0B-ADA1-47A9-8740-A12DAAEF9C36}"/>
              </a:ext>
            </a:extLst>
          </p:cNvPr>
          <p:cNvSpPr txBox="1"/>
          <p:nvPr/>
        </p:nvSpPr>
        <p:spPr>
          <a:xfrm>
            <a:off x="2609314" y="6454379"/>
            <a:ext cx="6973372" cy="37110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unktionen/ </a:t>
            </a:r>
            <a:r>
              <a:rPr lang="de-DE" sz="1800" err="1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table</a:t>
            </a:r>
            <a:r>
              <a:rPr lang="de-DE" sz="180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endParaRPr kumimoji="0" lang="de-DE" sz="167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rsche Next TT" panose="020B0504020101010102" pitchFamily="34" charset="0"/>
              <a:ea typeface="+mn-ea"/>
              <a:cs typeface="+mn-cs"/>
            </a:endParaRP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0358B30B-D019-437E-B47A-F550F3807CC8}"/>
              </a:ext>
            </a:extLst>
          </p:cNvPr>
          <p:cNvGrpSpPr/>
          <p:nvPr/>
        </p:nvGrpSpPr>
        <p:grpSpPr>
          <a:xfrm>
            <a:off x="1049991" y="1183341"/>
            <a:ext cx="11916709" cy="442707"/>
            <a:chOff x="1049991" y="1183341"/>
            <a:chExt cx="11916709" cy="442707"/>
          </a:xfrm>
        </p:grpSpPr>
        <p:sp>
          <p:nvSpPr>
            <p:cNvPr id="8" name="Rechteck 5">
              <a:extLst>
                <a:ext uri="{FF2B5EF4-FFF2-40B4-BE49-F238E27FC236}">
                  <a16:creationId xmlns:a16="http://schemas.microsoft.com/office/drawing/2014/main" id="{96705452-7044-4FCE-87DF-2DE94F6668E1}"/>
                </a:ext>
              </a:extLst>
            </p:cNvPr>
            <p:cNvSpPr/>
            <p:nvPr/>
          </p:nvSpPr>
          <p:spPr>
            <a:xfrm>
              <a:off x="1049991" y="1183341"/>
              <a:ext cx="11916709" cy="442707"/>
            </a:xfrm>
            <a:custGeom>
              <a:avLst/>
              <a:gdLst>
                <a:gd name="connsiteX0" fmla="*/ 0 w 9681883"/>
                <a:gd name="connsiteY0" fmla="*/ 0 h 442707"/>
                <a:gd name="connsiteX1" fmla="*/ 9681883 w 9681883"/>
                <a:gd name="connsiteY1" fmla="*/ 0 h 442707"/>
                <a:gd name="connsiteX2" fmla="*/ 9681883 w 9681883"/>
                <a:gd name="connsiteY2" fmla="*/ 442707 h 442707"/>
                <a:gd name="connsiteX3" fmla="*/ 0 w 9681883"/>
                <a:gd name="connsiteY3" fmla="*/ 442707 h 442707"/>
                <a:gd name="connsiteX4" fmla="*/ 0 w 9681883"/>
                <a:gd name="connsiteY4" fmla="*/ 0 h 442707"/>
                <a:gd name="connsiteX0" fmla="*/ 0 w 9681883"/>
                <a:gd name="connsiteY0" fmla="*/ 0 h 442707"/>
                <a:gd name="connsiteX1" fmla="*/ 9049872 w 9681883"/>
                <a:gd name="connsiteY1" fmla="*/ 0 h 442707"/>
                <a:gd name="connsiteX2" fmla="*/ 9681883 w 9681883"/>
                <a:gd name="connsiteY2" fmla="*/ 442707 h 442707"/>
                <a:gd name="connsiteX3" fmla="*/ 0 w 9681883"/>
                <a:gd name="connsiteY3" fmla="*/ 442707 h 442707"/>
                <a:gd name="connsiteX4" fmla="*/ 0 w 9681883"/>
                <a:gd name="connsiteY4" fmla="*/ 0 h 442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681883" h="442707">
                  <a:moveTo>
                    <a:pt x="0" y="0"/>
                  </a:moveTo>
                  <a:lnTo>
                    <a:pt x="9049872" y="0"/>
                  </a:lnTo>
                  <a:lnTo>
                    <a:pt x="9681883" y="442707"/>
                  </a:lnTo>
                  <a:lnTo>
                    <a:pt x="0" y="44270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EEEEE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err="1">
                <a:solidFill>
                  <a:schemeClr val="tx1"/>
                </a:solidFill>
              </a:endParaRPr>
            </a:p>
          </p:txBody>
        </p:sp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C6192B49-719B-4F74-93E9-4270A66017B6}"/>
                </a:ext>
              </a:extLst>
            </p:cNvPr>
            <p:cNvSpPr txBox="1"/>
            <p:nvPr/>
          </p:nvSpPr>
          <p:spPr>
            <a:xfrm>
              <a:off x="1128993" y="1247312"/>
              <a:ext cx="9883588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sz="2000" b="1">
                  <a:solidFill>
                    <a:srgbClr val="3A6B9B"/>
                  </a:solidFill>
                </a:rPr>
                <a:t> ctable(x = </a:t>
              </a:r>
              <a:r>
                <a:rPr lang="de-DE" sz="2000" b="1" err="1">
                  <a:solidFill>
                    <a:srgbClr val="3A6B9B"/>
                  </a:solidFill>
                </a:rPr>
                <a:t>tobacco$smoker</a:t>
              </a:r>
              <a:r>
                <a:rPr lang="de-DE" sz="2000" b="1">
                  <a:solidFill>
                    <a:srgbClr val="3A6B9B"/>
                  </a:solidFill>
                </a:rPr>
                <a:t>, y = </a:t>
              </a:r>
              <a:r>
                <a:rPr lang="de-DE" sz="2000" b="1" err="1">
                  <a:solidFill>
                    <a:srgbClr val="3A6B9B"/>
                  </a:solidFill>
                </a:rPr>
                <a:t>tobacco$diseased</a:t>
              </a:r>
              <a:r>
                <a:rPr lang="de-DE" sz="2000" b="1">
                  <a:solidFill>
                    <a:srgbClr val="3A6B9B"/>
                  </a:solidFill>
                </a:rPr>
                <a:t>, </a:t>
              </a:r>
              <a:r>
                <a:rPr lang="de-DE" sz="2000" b="1" err="1">
                  <a:solidFill>
                    <a:srgbClr val="658E11"/>
                  </a:solidFill>
                </a:rPr>
                <a:t>prop</a:t>
              </a:r>
              <a:r>
                <a:rPr lang="de-DE" sz="2000" b="1">
                  <a:solidFill>
                    <a:srgbClr val="658E11"/>
                  </a:solidFill>
                </a:rPr>
                <a:t> = "r")</a:t>
              </a:r>
              <a:endParaRPr lang="de-DE" sz="1600"/>
            </a:p>
          </p:txBody>
        </p:sp>
      </p:grpSp>
    </p:spTree>
    <p:extLst>
      <p:ext uri="{BB962C8B-B14F-4D97-AF65-F5344CB8AC3E}">
        <p14:creationId xmlns:p14="http://schemas.microsoft.com/office/powerpoint/2010/main" val="1118267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EAB5E756-A797-4707-948B-5F1206BC4A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/>
              <a:t>ctable</a:t>
            </a:r>
            <a:r>
              <a:rPr lang="de-DE"/>
              <a:t>()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6E90D620-3773-4B15-99C3-336728AE6C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47408" y="1709422"/>
            <a:ext cx="7897183" cy="3346672"/>
          </a:xfrm>
          <a:prstGeom prst="rect">
            <a:avLst/>
          </a:prstGeom>
        </p:spPr>
      </p:pic>
      <p:sp>
        <p:nvSpPr>
          <p:cNvPr id="6" name="textBoxChapter">
            <a:extLst>
              <a:ext uri="{FF2B5EF4-FFF2-40B4-BE49-F238E27FC236}">
                <a16:creationId xmlns:a16="http://schemas.microsoft.com/office/drawing/2014/main" id="{655EA54B-C337-4AD5-B9A0-A9AA9E0720FC}"/>
              </a:ext>
            </a:extLst>
          </p:cNvPr>
          <p:cNvSpPr txBox="1"/>
          <p:nvPr/>
        </p:nvSpPr>
        <p:spPr>
          <a:xfrm>
            <a:off x="2609314" y="6454379"/>
            <a:ext cx="6973372" cy="37110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unktionen/ </a:t>
            </a:r>
            <a:r>
              <a:rPr lang="de-DE" sz="1800" err="1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table</a:t>
            </a:r>
            <a:r>
              <a:rPr lang="de-DE" sz="180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endParaRPr kumimoji="0" lang="de-DE" sz="167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rsche Next TT" panose="020B0504020101010102" pitchFamily="34" charset="0"/>
              <a:ea typeface="+mn-ea"/>
              <a:cs typeface="+mn-cs"/>
            </a:endParaRP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4EB92700-024D-4DEC-A263-587FC60F11D8}"/>
              </a:ext>
            </a:extLst>
          </p:cNvPr>
          <p:cNvGrpSpPr/>
          <p:nvPr/>
        </p:nvGrpSpPr>
        <p:grpSpPr>
          <a:xfrm>
            <a:off x="1049991" y="1183341"/>
            <a:ext cx="12539009" cy="587191"/>
            <a:chOff x="1049991" y="1183341"/>
            <a:chExt cx="11916709" cy="587191"/>
          </a:xfrm>
        </p:grpSpPr>
        <p:sp>
          <p:nvSpPr>
            <p:cNvPr id="8" name="Rechteck 5">
              <a:extLst>
                <a:ext uri="{FF2B5EF4-FFF2-40B4-BE49-F238E27FC236}">
                  <a16:creationId xmlns:a16="http://schemas.microsoft.com/office/drawing/2014/main" id="{F93FCCFF-22D0-4FB5-9F22-92B8D601198E}"/>
                </a:ext>
              </a:extLst>
            </p:cNvPr>
            <p:cNvSpPr/>
            <p:nvPr/>
          </p:nvSpPr>
          <p:spPr>
            <a:xfrm>
              <a:off x="1049991" y="1183341"/>
              <a:ext cx="11916709" cy="442707"/>
            </a:xfrm>
            <a:custGeom>
              <a:avLst/>
              <a:gdLst>
                <a:gd name="connsiteX0" fmla="*/ 0 w 9681883"/>
                <a:gd name="connsiteY0" fmla="*/ 0 h 442707"/>
                <a:gd name="connsiteX1" fmla="*/ 9681883 w 9681883"/>
                <a:gd name="connsiteY1" fmla="*/ 0 h 442707"/>
                <a:gd name="connsiteX2" fmla="*/ 9681883 w 9681883"/>
                <a:gd name="connsiteY2" fmla="*/ 442707 h 442707"/>
                <a:gd name="connsiteX3" fmla="*/ 0 w 9681883"/>
                <a:gd name="connsiteY3" fmla="*/ 442707 h 442707"/>
                <a:gd name="connsiteX4" fmla="*/ 0 w 9681883"/>
                <a:gd name="connsiteY4" fmla="*/ 0 h 442707"/>
                <a:gd name="connsiteX0" fmla="*/ 0 w 9681883"/>
                <a:gd name="connsiteY0" fmla="*/ 0 h 442707"/>
                <a:gd name="connsiteX1" fmla="*/ 9049872 w 9681883"/>
                <a:gd name="connsiteY1" fmla="*/ 0 h 442707"/>
                <a:gd name="connsiteX2" fmla="*/ 9681883 w 9681883"/>
                <a:gd name="connsiteY2" fmla="*/ 442707 h 442707"/>
                <a:gd name="connsiteX3" fmla="*/ 0 w 9681883"/>
                <a:gd name="connsiteY3" fmla="*/ 442707 h 442707"/>
                <a:gd name="connsiteX4" fmla="*/ 0 w 9681883"/>
                <a:gd name="connsiteY4" fmla="*/ 0 h 442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681883" h="442707">
                  <a:moveTo>
                    <a:pt x="0" y="0"/>
                  </a:moveTo>
                  <a:lnTo>
                    <a:pt x="9049872" y="0"/>
                  </a:lnTo>
                  <a:lnTo>
                    <a:pt x="9681883" y="442707"/>
                  </a:lnTo>
                  <a:lnTo>
                    <a:pt x="0" y="44270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EEEEE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err="1">
                <a:solidFill>
                  <a:schemeClr val="tx1"/>
                </a:solidFill>
              </a:endParaRPr>
            </a:p>
          </p:txBody>
        </p:sp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25FF2888-5D25-4D15-950E-B9AB457A9899}"/>
                </a:ext>
              </a:extLst>
            </p:cNvPr>
            <p:cNvSpPr txBox="1"/>
            <p:nvPr/>
          </p:nvSpPr>
          <p:spPr>
            <a:xfrm>
              <a:off x="1128993" y="1247312"/>
              <a:ext cx="9883588" cy="52322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sz="2000" b="1" err="1">
                  <a:solidFill>
                    <a:srgbClr val="3A6B9B"/>
                  </a:solidFill>
                </a:rPr>
                <a:t>ctable</a:t>
              </a:r>
              <a:r>
                <a:rPr lang="de-DE" sz="2000" b="1">
                  <a:solidFill>
                    <a:srgbClr val="3A6B9B"/>
                  </a:solidFill>
                </a:rPr>
                <a:t>(x = </a:t>
              </a:r>
              <a:r>
                <a:rPr lang="de-DE" sz="2000" b="1" err="1">
                  <a:solidFill>
                    <a:srgbClr val="3A6B9B"/>
                  </a:solidFill>
                </a:rPr>
                <a:t>tobacco$smoker</a:t>
              </a:r>
              <a:r>
                <a:rPr lang="de-DE" sz="2000" b="1">
                  <a:solidFill>
                    <a:srgbClr val="3A6B9B"/>
                  </a:solidFill>
                </a:rPr>
                <a:t>, y = </a:t>
              </a:r>
              <a:r>
                <a:rPr lang="de-DE" sz="2000" b="1" err="1">
                  <a:solidFill>
                    <a:srgbClr val="3A6B9B"/>
                  </a:solidFill>
                </a:rPr>
                <a:t>tobacco$diseased</a:t>
              </a:r>
              <a:r>
                <a:rPr lang="de-DE" sz="2000" b="1">
                  <a:solidFill>
                    <a:srgbClr val="3A6B9B"/>
                  </a:solidFill>
                </a:rPr>
                <a:t>, </a:t>
              </a:r>
              <a:r>
                <a:rPr lang="de-DE" sz="2000" b="1" err="1">
                  <a:solidFill>
                    <a:srgbClr val="3A6B9B"/>
                  </a:solidFill>
                </a:rPr>
                <a:t>prop</a:t>
              </a:r>
              <a:r>
                <a:rPr lang="de-DE" sz="2000" b="1">
                  <a:solidFill>
                    <a:srgbClr val="3A6B9B"/>
                  </a:solidFill>
                </a:rPr>
                <a:t> = "r" , </a:t>
              </a:r>
              <a:r>
                <a:rPr lang="de-DE" sz="2000" b="1" err="1">
                  <a:solidFill>
                    <a:srgbClr val="658E11"/>
                  </a:solidFill>
                </a:rPr>
                <a:t>chisq</a:t>
              </a:r>
              <a:r>
                <a:rPr lang="de-DE" sz="2000" b="1">
                  <a:solidFill>
                    <a:srgbClr val="658E11"/>
                  </a:solidFill>
                </a:rPr>
                <a:t> = TRUE</a:t>
              </a:r>
              <a:r>
                <a:rPr lang="de-DE" sz="2000" b="1">
                  <a:solidFill>
                    <a:srgbClr val="3A6B9B"/>
                  </a:solidFill>
                </a:rPr>
                <a:t>)</a:t>
              </a:r>
            </a:p>
            <a:p>
              <a:endParaRPr lang="de-DE" sz="1400" err="1"/>
            </a:p>
          </p:txBody>
        </p:sp>
      </p:grpSp>
      <p:sp>
        <p:nvSpPr>
          <p:cNvPr id="10" name="Pfeil: nach links gekrümmt 9">
            <a:hlinkClick r:id="rId4" action="ppaction://hlinksldjump"/>
            <a:extLst>
              <a:ext uri="{FF2B5EF4-FFF2-40B4-BE49-F238E27FC236}">
                <a16:creationId xmlns:a16="http://schemas.microsoft.com/office/drawing/2014/main" id="{FCF52D43-DF6B-408B-A03B-4014CDD5D311}"/>
              </a:ext>
            </a:extLst>
          </p:cNvPr>
          <p:cNvSpPr/>
          <p:nvPr/>
        </p:nvSpPr>
        <p:spPr>
          <a:xfrm>
            <a:off x="11159851" y="5181386"/>
            <a:ext cx="751840" cy="650240"/>
          </a:xfrm>
          <a:prstGeom prst="curvedLeftArrow">
            <a:avLst/>
          </a:prstGeom>
          <a:solidFill>
            <a:schemeClr val="accent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5655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EAB5E756-A797-4707-948B-5F1206BC4A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 anchor="t"/>
          <a:lstStyle/>
          <a:p>
            <a:r>
              <a:rPr lang="de-DE" sz="2850" err="1"/>
              <a:t>descr</a:t>
            </a:r>
            <a:r>
              <a:rPr lang="de-DE" sz="2850"/>
              <a:t>()</a:t>
            </a:r>
          </a:p>
        </p:txBody>
      </p:sp>
      <p:sp>
        <p:nvSpPr>
          <p:cNvPr id="6" name="textBoxChapter">
            <a:extLst>
              <a:ext uri="{FF2B5EF4-FFF2-40B4-BE49-F238E27FC236}">
                <a16:creationId xmlns:a16="http://schemas.microsoft.com/office/drawing/2014/main" id="{655EA54B-C337-4AD5-B9A0-A9AA9E0720FC}"/>
              </a:ext>
            </a:extLst>
          </p:cNvPr>
          <p:cNvSpPr txBox="1"/>
          <p:nvPr/>
        </p:nvSpPr>
        <p:spPr>
          <a:xfrm>
            <a:off x="2609314" y="6454379"/>
            <a:ext cx="6973372" cy="37110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>
                <a:latin typeface="Calibri"/>
                <a:ea typeface="Times New Roman" panose="02020603050405020304" pitchFamily="18" charset="0"/>
                <a:cs typeface="Times New Roman"/>
              </a:rPr>
              <a:t>Funktionen/ </a:t>
            </a:r>
            <a:r>
              <a:rPr lang="de-DE" err="1">
                <a:latin typeface="Calibri"/>
                <a:ea typeface="Times New Roman" panose="02020603050405020304" pitchFamily="18" charset="0"/>
                <a:cs typeface="Times New Roman"/>
              </a:rPr>
              <a:t>descr</a:t>
            </a:r>
            <a:r>
              <a:rPr lang="de-DE" sz="1800">
                <a:latin typeface="Calibri"/>
                <a:ea typeface="Times New Roman" panose="02020603050405020304" pitchFamily="18" charset="0"/>
                <a:cs typeface="Times New Roman"/>
              </a:rPr>
              <a:t>()</a:t>
            </a:r>
            <a:endParaRPr kumimoji="0" lang="de-DE" sz="167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Times New Roman"/>
            </a:endParaRP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4EB92700-024D-4DEC-A263-587FC60F11D8}"/>
              </a:ext>
            </a:extLst>
          </p:cNvPr>
          <p:cNvGrpSpPr/>
          <p:nvPr/>
        </p:nvGrpSpPr>
        <p:grpSpPr>
          <a:xfrm>
            <a:off x="1092808" y="1158315"/>
            <a:ext cx="12539009" cy="648746"/>
            <a:chOff x="1049991" y="1183341"/>
            <a:chExt cx="11916709" cy="648746"/>
          </a:xfrm>
        </p:grpSpPr>
        <p:sp>
          <p:nvSpPr>
            <p:cNvPr id="8" name="Rechteck 5">
              <a:extLst>
                <a:ext uri="{FF2B5EF4-FFF2-40B4-BE49-F238E27FC236}">
                  <a16:creationId xmlns:a16="http://schemas.microsoft.com/office/drawing/2014/main" id="{F93FCCFF-22D0-4FB5-9F22-92B8D601198E}"/>
                </a:ext>
              </a:extLst>
            </p:cNvPr>
            <p:cNvSpPr/>
            <p:nvPr/>
          </p:nvSpPr>
          <p:spPr>
            <a:xfrm>
              <a:off x="1049991" y="1183341"/>
              <a:ext cx="11916709" cy="442707"/>
            </a:xfrm>
            <a:custGeom>
              <a:avLst/>
              <a:gdLst>
                <a:gd name="connsiteX0" fmla="*/ 0 w 9681883"/>
                <a:gd name="connsiteY0" fmla="*/ 0 h 442707"/>
                <a:gd name="connsiteX1" fmla="*/ 9681883 w 9681883"/>
                <a:gd name="connsiteY1" fmla="*/ 0 h 442707"/>
                <a:gd name="connsiteX2" fmla="*/ 9681883 w 9681883"/>
                <a:gd name="connsiteY2" fmla="*/ 442707 h 442707"/>
                <a:gd name="connsiteX3" fmla="*/ 0 w 9681883"/>
                <a:gd name="connsiteY3" fmla="*/ 442707 h 442707"/>
                <a:gd name="connsiteX4" fmla="*/ 0 w 9681883"/>
                <a:gd name="connsiteY4" fmla="*/ 0 h 442707"/>
                <a:gd name="connsiteX0" fmla="*/ 0 w 9681883"/>
                <a:gd name="connsiteY0" fmla="*/ 0 h 442707"/>
                <a:gd name="connsiteX1" fmla="*/ 9049872 w 9681883"/>
                <a:gd name="connsiteY1" fmla="*/ 0 h 442707"/>
                <a:gd name="connsiteX2" fmla="*/ 9681883 w 9681883"/>
                <a:gd name="connsiteY2" fmla="*/ 442707 h 442707"/>
                <a:gd name="connsiteX3" fmla="*/ 0 w 9681883"/>
                <a:gd name="connsiteY3" fmla="*/ 442707 h 442707"/>
                <a:gd name="connsiteX4" fmla="*/ 0 w 9681883"/>
                <a:gd name="connsiteY4" fmla="*/ 0 h 442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681883" h="442707">
                  <a:moveTo>
                    <a:pt x="0" y="0"/>
                  </a:moveTo>
                  <a:lnTo>
                    <a:pt x="9049872" y="0"/>
                  </a:lnTo>
                  <a:lnTo>
                    <a:pt x="9681883" y="442707"/>
                  </a:lnTo>
                  <a:lnTo>
                    <a:pt x="0" y="44270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EEEEE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err="1">
                <a:solidFill>
                  <a:schemeClr val="tx1"/>
                </a:solidFill>
              </a:endParaRPr>
            </a:p>
          </p:txBody>
        </p:sp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25FF2888-5D25-4D15-950E-B9AB457A9899}"/>
                </a:ext>
              </a:extLst>
            </p:cNvPr>
            <p:cNvSpPr txBox="1"/>
            <p:nvPr/>
          </p:nvSpPr>
          <p:spPr>
            <a:xfrm>
              <a:off x="1128993" y="1247312"/>
              <a:ext cx="9883588" cy="58477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de-DE" sz="2000" b="1" err="1">
                  <a:solidFill>
                    <a:srgbClr val="3A6B9B"/>
                  </a:solidFill>
                </a:rPr>
                <a:t>descr</a:t>
              </a:r>
              <a:r>
                <a:rPr lang="de-DE" sz="2000" b="1">
                  <a:solidFill>
                    <a:srgbClr val="3A6B9B"/>
                  </a:solidFill>
                </a:rPr>
                <a:t>(</a:t>
              </a:r>
              <a:r>
                <a:rPr lang="de-DE" sz="2000" b="1" err="1">
                  <a:solidFill>
                    <a:srgbClr val="3A6B9B"/>
                  </a:solidFill>
                </a:rPr>
                <a:t>happiness</a:t>
              </a:r>
              <a:r>
                <a:rPr lang="de-DE" sz="2000" b="1">
                  <a:solidFill>
                    <a:srgbClr val="3A6B9B"/>
                  </a:solidFill>
                </a:rPr>
                <a:t>)</a:t>
              </a:r>
            </a:p>
            <a:p>
              <a:endParaRPr lang="de-DE" b="1">
                <a:solidFill>
                  <a:srgbClr val="3A6B9B"/>
                </a:solidFill>
              </a:endParaRPr>
            </a:p>
          </p:txBody>
        </p:sp>
      </p:grpSp>
      <p:pic>
        <p:nvPicPr>
          <p:cNvPr id="5" name="Grafik 4" descr="Ein Bild, das Tisch enthält.&#10;&#10;Beschreibung automatisch generiert.">
            <a:extLst>
              <a:ext uri="{FF2B5EF4-FFF2-40B4-BE49-F238E27FC236}">
                <a16:creationId xmlns:a16="http://schemas.microsoft.com/office/drawing/2014/main" id="{DA701F3E-FE0E-4601-9A06-B1016C42BE5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31602"/>
          <a:stretch/>
        </p:blipFill>
        <p:spPr>
          <a:xfrm>
            <a:off x="2959100" y="1773234"/>
            <a:ext cx="6013169" cy="3888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708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EAB5E756-A797-4707-948B-5F1206BC4A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 anchor="t"/>
          <a:lstStyle/>
          <a:p>
            <a:r>
              <a:rPr lang="de-DE" sz="2850" err="1"/>
              <a:t>descr</a:t>
            </a:r>
            <a:r>
              <a:rPr lang="de-DE" sz="2850"/>
              <a:t>()</a:t>
            </a:r>
          </a:p>
        </p:txBody>
      </p:sp>
      <p:sp>
        <p:nvSpPr>
          <p:cNvPr id="6" name="textBoxChapter">
            <a:extLst>
              <a:ext uri="{FF2B5EF4-FFF2-40B4-BE49-F238E27FC236}">
                <a16:creationId xmlns:a16="http://schemas.microsoft.com/office/drawing/2014/main" id="{655EA54B-C337-4AD5-B9A0-A9AA9E0720FC}"/>
              </a:ext>
            </a:extLst>
          </p:cNvPr>
          <p:cNvSpPr txBox="1"/>
          <p:nvPr/>
        </p:nvSpPr>
        <p:spPr>
          <a:xfrm>
            <a:off x="2609314" y="6454379"/>
            <a:ext cx="6973372" cy="37110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>
                <a:latin typeface="Calibri"/>
                <a:ea typeface="Times New Roman" panose="02020603050405020304" pitchFamily="18" charset="0"/>
                <a:cs typeface="Times New Roman"/>
              </a:rPr>
              <a:t>Funktionen/ </a:t>
            </a:r>
            <a:r>
              <a:rPr lang="de-DE" err="1">
                <a:latin typeface="Calibri"/>
                <a:ea typeface="Times New Roman" panose="02020603050405020304" pitchFamily="18" charset="0"/>
                <a:cs typeface="Times New Roman"/>
              </a:rPr>
              <a:t>descr</a:t>
            </a:r>
            <a:r>
              <a:rPr lang="de-DE" sz="1800">
                <a:latin typeface="Calibri"/>
                <a:ea typeface="Times New Roman" panose="02020603050405020304" pitchFamily="18" charset="0"/>
                <a:cs typeface="Times New Roman"/>
              </a:rPr>
              <a:t>()</a:t>
            </a:r>
            <a:endParaRPr kumimoji="0" lang="de-DE" sz="167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Times New Roman"/>
            </a:endParaRP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4EB92700-024D-4DEC-A263-587FC60F11D8}"/>
              </a:ext>
            </a:extLst>
          </p:cNvPr>
          <p:cNvGrpSpPr/>
          <p:nvPr/>
        </p:nvGrpSpPr>
        <p:grpSpPr>
          <a:xfrm>
            <a:off x="1082648" y="1162926"/>
            <a:ext cx="12539009" cy="925745"/>
            <a:chOff x="1049991" y="1183341"/>
            <a:chExt cx="11916709" cy="925745"/>
          </a:xfrm>
        </p:grpSpPr>
        <p:sp>
          <p:nvSpPr>
            <p:cNvPr id="8" name="Rechteck 5">
              <a:extLst>
                <a:ext uri="{FF2B5EF4-FFF2-40B4-BE49-F238E27FC236}">
                  <a16:creationId xmlns:a16="http://schemas.microsoft.com/office/drawing/2014/main" id="{F93FCCFF-22D0-4FB5-9F22-92B8D601198E}"/>
                </a:ext>
              </a:extLst>
            </p:cNvPr>
            <p:cNvSpPr/>
            <p:nvPr/>
          </p:nvSpPr>
          <p:spPr>
            <a:xfrm>
              <a:off x="1049991" y="1183341"/>
              <a:ext cx="11916709" cy="442707"/>
            </a:xfrm>
            <a:custGeom>
              <a:avLst/>
              <a:gdLst>
                <a:gd name="connsiteX0" fmla="*/ 0 w 9681883"/>
                <a:gd name="connsiteY0" fmla="*/ 0 h 442707"/>
                <a:gd name="connsiteX1" fmla="*/ 9681883 w 9681883"/>
                <a:gd name="connsiteY1" fmla="*/ 0 h 442707"/>
                <a:gd name="connsiteX2" fmla="*/ 9681883 w 9681883"/>
                <a:gd name="connsiteY2" fmla="*/ 442707 h 442707"/>
                <a:gd name="connsiteX3" fmla="*/ 0 w 9681883"/>
                <a:gd name="connsiteY3" fmla="*/ 442707 h 442707"/>
                <a:gd name="connsiteX4" fmla="*/ 0 w 9681883"/>
                <a:gd name="connsiteY4" fmla="*/ 0 h 442707"/>
                <a:gd name="connsiteX0" fmla="*/ 0 w 9681883"/>
                <a:gd name="connsiteY0" fmla="*/ 0 h 442707"/>
                <a:gd name="connsiteX1" fmla="*/ 9049872 w 9681883"/>
                <a:gd name="connsiteY1" fmla="*/ 0 h 442707"/>
                <a:gd name="connsiteX2" fmla="*/ 9681883 w 9681883"/>
                <a:gd name="connsiteY2" fmla="*/ 442707 h 442707"/>
                <a:gd name="connsiteX3" fmla="*/ 0 w 9681883"/>
                <a:gd name="connsiteY3" fmla="*/ 442707 h 442707"/>
                <a:gd name="connsiteX4" fmla="*/ 0 w 9681883"/>
                <a:gd name="connsiteY4" fmla="*/ 0 h 442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681883" h="442707">
                  <a:moveTo>
                    <a:pt x="0" y="0"/>
                  </a:moveTo>
                  <a:lnTo>
                    <a:pt x="9049872" y="0"/>
                  </a:lnTo>
                  <a:lnTo>
                    <a:pt x="9681883" y="442707"/>
                  </a:lnTo>
                  <a:lnTo>
                    <a:pt x="0" y="44270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EEEEE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err="1">
                <a:solidFill>
                  <a:schemeClr val="tx1"/>
                </a:solidFill>
              </a:endParaRPr>
            </a:p>
          </p:txBody>
        </p:sp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25FF2888-5D25-4D15-950E-B9AB457A9899}"/>
                </a:ext>
              </a:extLst>
            </p:cNvPr>
            <p:cNvSpPr txBox="1"/>
            <p:nvPr/>
          </p:nvSpPr>
          <p:spPr>
            <a:xfrm>
              <a:off x="1128993" y="1247312"/>
              <a:ext cx="9883588" cy="86177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en-US" sz="2000" b="1" err="1">
                  <a:solidFill>
                    <a:srgbClr val="3A6B9B"/>
                  </a:solidFill>
                </a:rPr>
                <a:t>descr</a:t>
              </a:r>
              <a:r>
                <a:rPr lang="en-US" sz="2000" b="1">
                  <a:solidFill>
                    <a:srgbClr val="3A6B9B"/>
                  </a:solidFill>
                </a:rPr>
                <a:t>(happiness, stats = c("mean", "med", "min", "max"), transpose = TRUE, headings = FALSE)</a:t>
              </a:r>
              <a:endParaRPr lang="de-DE" sz="2000" b="1">
                <a:solidFill>
                  <a:srgbClr val="3A6B9B"/>
                </a:solidFill>
              </a:endParaRPr>
            </a:p>
            <a:p>
              <a:endParaRPr lang="de-DE" b="1">
                <a:solidFill>
                  <a:srgbClr val="3A6B9B"/>
                </a:solidFill>
              </a:endParaRPr>
            </a:p>
            <a:p>
              <a:endParaRPr lang="de-DE" b="1">
                <a:solidFill>
                  <a:srgbClr val="3A6B9B"/>
                </a:solidFill>
              </a:endParaRPr>
            </a:p>
          </p:txBody>
        </p:sp>
      </p:grpSp>
      <p:pic>
        <p:nvPicPr>
          <p:cNvPr id="2" name="Grafik 1" descr="Ein Bild, das Text enthält.&#10;&#10;Beschreibung automatisch generiert.">
            <a:extLst>
              <a:ext uri="{FF2B5EF4-FFF2-40B4-BE49-F238E27FC236}">
                <a16:creationId xmlns:a16="http://schemas.microsoft.com/office/drawing/2014/main" id="{5DD033CD-717C-4768-8364-85E8CF2A32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75896" y="1789824"/>
            <a:ext cx="7477125" cy="3905250"/>
          </a:xfrm>
          <a:prstGeom prst="rect">
            <a:avLst/>
          </a:prstGeom>
        </p:spPr>
      </p:pic>
      <p:sp>
        <p:nvSpPr>
          <p:cNvPr id="10" name="Pfeil: nach links gekrümmt 9">
            <a:hlinkClick r:id="rId4" action="ppaction://hlinksldjump"/>
            <a:extLst>
              <a:ext uri="{FF2B5EF4-FFF2-40B4-BE49-F238E27FC236}">
                <a16:creationId xmlns:a16="http://schemas.microsoft.com/office/drawing/2014/main" id="{81024100-A1B3-402C-A7ED-75FDA214398B}"/>
              </a:ext>
            </a:extLst>
          </p:cNvPr>
          <p:cNvSpPr/>
          <p:nvPr/>
        </p:nvSpPr>
        <p:spPr>
          <a:xfrm>
            <a:off x="11159851" y="5181386"/>
            <a:ext cx="751840" cy="650240"/>
          </a:xfrm>
          <a:prstGeom prst="curvedLeftArrow">
            <a:avLst/>
          </a:prstGeom>
          <a:solidFill>
            <a:schemeClr val="accent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6185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EAB5E756-A797-4707-948B-5F1206BC4A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 anchor="t"/>
          <a:lstStyle/>
          <a:p>
            <a:r>
              <a:rPr lang="de-DE" sz="2850" err="1"/>
              <a:t>dfSummary</a:t>
            </a:r>
            <a:r>
              <a:rPr lang="de-DE" sz="2850"/>
              <a:t>()</a:t>
            </a:r>
          </a:p>
        </p:txBody>
      </p:sp>
      <p:sp>
        <p:nvSpPr>
          <p:cNvPr id="6" name="textBoxChapter">
            <a:extLst>
              <a:ext uri="{FF2B5EF4-FFF2-40B4-BE49-F238E27FC236}">
                <a16:creationId xmlns:a16="http://schemas.microsoft.com/office/drawing/2014/main" id="{655EA54B-C337-4AD5-B9A0-A9AA9E0720FC}"/>
              </a:ext>
            </a:extLst>
          </p:cNvPr>
          <p:cNvSpPr txBox="1"/>
          <p:nvPr/>
        </p:nvSpPr>
        <p:spPr>
          <a:xfrm>
            <a:off x="2609314" y="6454379"/>
            <a:ext cx="6973372" cy="37110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>
                <a:latin typeface="Calibri"/>
                <a:ea typeface="Times New Roman" panose="02020603050405020304" pitchFamily="18" charset="0"/>
                <a:cs typeface="Times New Roman"/>
              </a:rPr>
              <a:t>Funktionen/ </a:t>
            </a:r>
            <a:r>
              <a:rPr lang="de-DE" err="1">
                <a:latin typeface="Calibri"/>
                <a:ea typeface="Times New Roman" panose="02020603050405020304" pitchFamily="18" charset="0"/>
                <a:cs typeface="Times New Roman"/>
              </a:rPr>
              <a:t>dfSummary</a:t>
            </a:r>
            <a:r>
              <a:rPr lang="de-DE" sz="1800">
                <a:latin typeface="Calibri"/>
                <a:ea typeface="Times New Roman" panose="02020603050405020304" pitchFamily="18" charset="0"/>
                <a:cs typeface="Times New Roman"/>
              </a:rPr>
              <a:t>()</a:t>
            </a:r>
            <a:endParaRPr kumimoji="0" lang="de-DE" sz="167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Times New Roman"/>
            </a:endParaRP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4EB92700-024D-4DEC-A263-587FC60F11D8}"/>
              </a:ext>
            </a:extLst>
          </p:cNvPr>
          <p:cNvGrpSpPr/>
          <p:nvPr/>
        </p:nvGrpSpPr>
        <p:grpSpPr>
          <a:xfrm>
            <a:off x="1069948" y="1177631"/>
            <a:ext cx="12539009" cy="648746"/>
            <a:chOff x="1049991" y="1183341"/>
            <a:chExt cx="11916709" cy="648746"/>
          </a:xfrm>
        </p:grpSpPr>
        <p:sp>
          <p:nvSpPr>
            <p:cNvPr id="8" name="Rechteck 5">
              <a:extLst>
                <a:ext uri="{FF2B5EF4-FFF2-40B4-BE49-F238E27FC236}">
                  <a16:creationId xmlns:a16="http://schemas.microsoft.com/office/drawing/2014/main" id="{F93FCCFF-22D0-4FB5-9F22-92B8D601198E}"/>
                </a:ext>
              </a:extLst>
            </p:cNvPr>
            <p:cNvSpPr/>
            <p:nvPr/>
          </p:nvSpPr>
          <p:spPr>
            <a:xfrm>
              <a:off x="1049991" y="1183341"/>
              <a:ext cx="11916709" cy="442707"/>
            </a:xfrm>
            <a:custGeom>
              <a:avLst/>
              <a:gdLst>
                <a:gd name="connsiteX0" fmla="*/ 0 w 9681883"/>
                <a:gd name="connsiteY0" fmla="*/ 0 h 442707"/>
                <a:gd name="connsiteX1" fmla="*/ 9681883 w 9681883"/>
                <a:gd name="connsiteY1" fmla="*/ 0 h 442707"/>
                <a:gd name="connsiteX2" fmla="*/ 9681883 w 9681883"/>
                <a:gd name="connsiteY2" fmla="*/ 442707 h 442707"/>
                <a:gd name="connsiteX3" fmla="*/ 0 w 9681883"/>
                <a:gd name="connsiteY3" fmla="*/ 442707 h 442707"/>
                <a:gd name="connsiteX4" fmla="*/ 0 w 9681883"/>
                <a:gd name="connsiteY4" fmla="*/ 0 h 442707"/>
                <a:gd name="connsiteX0" fmla="*/ 0 w 9681883"/>
                <a:gd name="connsiteY0" fmla="*/ 0 h 442707"/>
                <a:gd name="connsiteX1" fmla="*/ 9049872 w 9681883"/>
                <a:gd name="connsiteY1" fmla="*/ 0 h 442707"/>
                <a:gd name="connsiteX2" fmla="*/ 9681883 w 9681883"/>
                <a:gd name="connsiteY2" fmla="*/ 442707 h 442707"/>
                <a:gd name="connsiteX3" fmla="*/ 0 w 9681883"/>
                <a:gd name="connsiteY3" fmla="*/ 442707 h 442707"/>
                <a:gd name="connsiteX4" fmla="*/ 0 w 9681883"/>
                <a:gd name="connsiteY4" fmla="*/ 0 h 442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681883" h="442707">
                  <a:moveTo>
                    <a:pt x="0" y="0"/>
                  </a:moveTo>
                  <a:lnTo>
                    <a:pt x="9049872" y="0"/>
                  </a:lnTo>
                  <a:lnTo>
                    <a:pt x="9681883" y="442707"/>
                  </a:lnTo>
                  <a:lnTo>
                    <a:pt x="0" y="44270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EEEEE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err="1">
                <a:solidFill>
                  <a:schemeClr val="tx1"/>
                </a:solidFill>
              </a:endParaRPr>
            </a:p>
          </p:txBody>
        </p:sp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25FF2888-5D25-4D15-950E-B9AB457A9899}"/>
                </a:ext>
              </a:extLst>
            </p:cNvPr>
            <p:cNvSpPr txBox="1"/>
            <p:nvPr/>
          </p:nvSpPr>
          <p:spPr>
            <a:xfrm>
              <a:off x="1128993" y="1247312"/>
              <a:ext cx="9883588" cy="58477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de-DE" sz="2000" b="1" err="1">
                  <a:solidFill>
                    <a:srgbClr val="3A6B9B"/>
                  </a:solidFill>
                </a:rPr>
                <a:t>view</a:t>
              </a:r>
              <a:r>
                <a:rPr lang="de-DE" sz="2000" b="1">
                  <a:solidFill>
                    <a:srgbClr val="3A6B9B"/>
                  </a:solidFill>
                </a:rPr>
                <a:t>(</a:t>
              </a:r>
              <a:r>
                <a:rPr lang="de-DE" sz="2000" b="1" err="1">
                  <a:solidFill>
                    <a:srgbClr val="3A6B9B"/>
                  </a:solidFill>
                </a:rPr>
                <a:t>dfSummary</a:t>
              </a:r>
              <a:r>
                <a:rPr lang="de-DE" sz="2000" b="1">
                  <a:solidFill>
                    <a:srgbClr val="3A6B9B"/>
                  </a:solidFill>
                </a:rPr>
                <a:t>(</a:t>
              </a:r>
              <a:r>
                <a:rPr lang="de-DE" sz="2000" b="1" err="1">
                  <a:solidFill>
                    <a:srgbClr val="3A6B9B"/>
                  </a:solidFill>
                </a:rPr>
                <a:t>happiness</a:t>
              </a:r>
              <a:r>
                <a:rPr lang="de-DE" sz="2000" b="1">
                  <a:solidFill>
                    <a:srgbClr val="3A6B9B"/>
                  </a:solidFill>
                </a:rPr>
                <a:t>))</a:t>
              </a:r>
            </a:p>
            <a:p>
              <a:endParaRPr lang="de-DE" b="1">
                <a:solidFill>
                  <a:srgbClr val="3A6B9B"/>
                </a:solidFill>
              </a:endParaRPr>
            </a:p>
          </p:txBody>
        </p:sp>
      </p:grpSp>
      <p:pic>
        <p:nvPicPr>
          <p:cNvPr id="3" name="Bildplatzhalter 8" descr="Ein Bild, das Tisch enthält.&#10;&#10;Beschreibung automatisch generiert.">
            <a:extLst>
              <a:ext uri="{FF2B5EF4-FFF2-40B4-BE49-F238E27FC236}">
                <a16:creationId xmlns:a16="http://schemas.microsoft.com/office/drawing/2014/main" id="{0711C61E-8A05-4E69-8B18-32CCEA65CFC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prstClr val="black"/>
              <a:schemeClr val="accent4">
                <a:tint val="45000"/>
                <a:satMod val="400000"/>
              </a:schemeClr>
            </a:duotone>
          </a:blip>
          <a:srcRect l="435" t="33768" r="435" b="1299"/>
          <a:stretch/>
        </p:blipFill>
        <p:spPr>
          <a:xfrm>
            <a:off x="1646556" y="1899282"/>
            <a:ext cx="8898887" cy="3760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4538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platzhalter 3" descr="Ein Bild, das draußen, Wasser, Boot, Haus enthält.&#10;&#10;Automatisch generierte Beschreibung">
            <a:extLst>
              <a:ext uri="{FF2B5EF4-FFF2-40B4-BE49-F238E27FC236}">
                <a16:creationId xmlns:a16="http://schemas.microsoft.com/office/drawing/2014/main" id="{D7488E85-EB0F-43F4-834C-93A5A8253BBD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Texturizer/>
                    </a14:imgEffect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031" b="2031"/>
          <a:stretch>
            <a:fillRect/>
          </a:stretch>
        </p:blipFill>
        <p:spPr>
          <a:xfrm>
            <a:off x="0" y="0"/>
            <a:ext cx="12192000" cy="5848350"/>
          </a:xfr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9B039096-12A8-47D6-8AF5-2DC0C1BB9C2A}"/>
              </a:ext>
            </a:extLst>
          </p:cNvPr>
          <p:cNvSpPr/>
          <p:nvPr/>
        </p:nvSpPr>
        <p:spPr>
          <a:xfrm>
            <a:off x="0" y="0"/>
            <a:ext cx="4966138" cy="661196"/>
          </a:xfrm>
          <a:custGeom>
            <a:avLst/>
            <a:gdLst>
              <a:gd name="connsiteX0" fmla="*/ 0 w 6998208"/>
              <a:gd name="connsiteY0" fmla="*/ 0 h 1865376"/>
              <a:gd name="connsiteX1" fmla="*/ 6998208 w 6998208"/>
              <a:gd name="connsiteY1" fmla="*/ 0 h 1865376"/>
              <a:gd name="connsiteX2" fmla="*/ 6998208 w 6998208"/>
              <a:gd name="connsiteY2" fmla="*/ 1865376 h 1865376"/>
              <a:gd name="connsiteX3" fmla="*/ 0 w 6998208"/>
              <a:gd name="connsiteY3" fmla="*/ 1865376 h 1865376"/>
              <a:gd name="connsiteX4" fmla="*/ 0 w 6998208"/>
              <a:gd name="connsiteY4" fmla="*/ 0 h 1865376"/>
              <a:gd name="connsiteX0" fmla="*/ 0 w 6998208"/>
              <a:gd name="connsiteY0" fmla="*/ 12192 h 1877568"/>
              <a:gd name="connsiteX1" fmla="*/ 5913120 w 6998208"/>
              <a:gd name="connsiteY1" fmla="*/ 0 h 1877568"/>
              <a:gd name="connsiteX2" fmla="*/ 6998208 w 6998208"/>
              <a:gd name="connsiteY2" fmla="*/ 1877568 h 1877568"/>
              <a:gd name="connsiteX3" fmla="*/ 0 w 6998208"/>
              <a:gd name="connsiteY3" fmla="*/ 1877568 h 1877568"/>
              <a:gd name="connsiteX4" fmla="*/ 0 w 6998208"/>
              <a:gd name="connsiteY4" fmla="*/ 12192 h 1877568"/>
              <a:gd name="connsiteX0" fmla="*/ 0 w 6998208"/>
              <a:gd name="connsiteY0" fmla="*/ 0 h 1865376"/>
              <a:gd name="connsiteX1" fmla="*/ 5547360 w 6998208"/>
              <a:gd name="connsiteY1" fmla="*/ 0 h 1865376"/>
              <a:gd name="connsiteX2" fmla="*/ 6998208 w 6998208"/>
              <a:gd name="connsiteY2" fmla="*/ 1865376 h 1865376"/>
              <a:gd name="connsiteX3" fmla="*/ 0 w 6998208"/>
              <a:gd name="connsiteY3" fmla="*/ 1865376 h 1865376"/>
              <a:gd name="connsiteX4" fmla="*/ 0 w 6998208"/>
              <a:gd name="connsiteY4" fmla="*/ 0 h 1865376"/>
              <a:gd name="connsiteX0" fmla="*/ 0 w 6691941"/>
              <a:gd name="connsiteY0" fmla="*/ 0 h 1865376"/>
              <a:gd name="connsiteX1" fmla="*/ 5547360 w 6691941"/>
              <a:gd name="connsiteY1" fmla="*/ 0 h 1865376"/>
              <a:gd name="connsiteX2" fmla="*/ 6691941 w 6691941"/>
              <a:gd name="connsiteY2" fmla="*/ 1853444 h 1865376"/>
              <a:gd name="connsiteX3" fmla="*/ 0 w 6691941"/>
              <a:gd name="connsiteY3" fmla="*/ 1865376 h 1865376"/>
              <a:gd name="connsiteX4" fmla="*/ 0 w 6691941"/>
              <a:gd name="connsiteY4" fmla="*/ 0 h 1865376"/>
              <a:gd name="connsiteX0" fmla="*/ 0 w 6258525"/>
              <a:gd name="connsiteY0" fmla="*/ 0 h 1865376"/>
              <a:gd name="connsiteX1" fmla="*/ 5547360 w 6258525"/>
              <a:gd name="connsiteY1" fmla="*/ 0 h 1865376"/>
              <a:gd name="connsiteX2" fmla="*/ 6258525 w 6258525"/>
              <a:gd name="connsiteY2" fmla="*/ 1853444 h 1865376"/>
              <a:gd name="connsiteX3" fmla="*/ 0 w 6258525"/>
              <a:gd name="connsiteY3" fmla="*/ 1865376 h 1865376"/>
              <a:gd name="connsiteX4" fmla="*/ 0 w 6258525"/>
              <a:gd name="connsiteY4" fmla="*/ 0 h 1865376"/>
              <a:gd name="connsiteX0" fmla="*/ 0 w 6501238"/>
              <a:gd name="connsiteY0" fmla="*/ 0 h 1865376"/>
              <a:gd name="connsiteX1" fmla="*/ 5547360 w 6501238"/>
              <a:gd name="connsiteY1" fmla="*/ 0 h 1865376"/>
              <a:gd name="connsiteX2" fmla="*/ 6501238 w 6501238"/>
              <a:gd name="connsiteY2" fmla="*/ 1853443 h 1865376"/>
              <a:gd name="connsiteX3" fmla="*/ 0 w 6501238"/>
              <a:gd name="connsiteY3" fmla="*/ 1865376 h 1865376"/>
              <a:gd name="connsiteX4" fmla="*/ 0 w 6501238"/>
              <a:gd name="connsiteY4" fmla="*/ 0 h 1865376"/>
              <a:gd name="connsiteX0" fmla="*/ 0 w 9180704"/>
              <a:gd name="connsiteY0" fmla="*/ 0 h 1865376"/>
              <a:gd name="connsiteX1" fmla="*/ 9180704 w 9180704"/>
              <a:gd name="connsiteY1" fmla="*/ 0 h 1865376"/>
              <a:gd name="connsiteX2" fmla="*/ 6501238 w 9180704"/>
              <a:gd name="connsiteY2" fmla="*/ 1853443 h 1865376"/>
              <a:gd name="connsiteX3" fmla="*/ 0 w 9180704"/>
              <a:gd name="connsiteY3" fmla="*/ 1865376 h 1865376"/>
              <a:gd name="connsiteX4" fmla="*/ 0 w 9180704"/>
              <a:gd name="connsiteY4" fmla="*/ 0 h 1865376"/>
              <a:gd name="connsiteX0" fmla="*/ 0 w 8456076"/>
              <a:gd name="connsiteY0" fmla="*/ 0 h 1865376"/>
              <a:gd name="connsiteX1" fmla="*/ 8456076 w 8456076"/>
              <a:gd name="connsiteY1" fmla="*/ 0 h 1865376"/>
              <a:gd name="connsiteX2" fmla="*/ 6501238 w 8456076"/>
              <a:gd name="connsiteY2" fmla="*/ 1853443 h 1865376"/>
              <a:gd name="connsiteX3" fmla="*/ 0 w 8456076"/>
              <a:gd name="connsiteY3" fmla="*/ 1865376 h 1865376"/>
              <a:gd name="connsiteX4" fmla="*/ 0 w 8456076"/>
              <a:gd name="connsiteY4" fmla="*/ 0 h 1865376"/>
              <a:gd name="connsiteX0" fmla="*/ 0 w 7557947"/>
              <a:gd name="connsiteY0" fmla="*/ 0 h 1865376"/>
              <a:gd name="connsiteX1" fmla="*/ 7557947 w 7557947"/>
              <a:gd name="connsiteY1" fmla="*/ 0 h 1865376"/>
              <a:gd name="connsiteX2" fmla="*/ 6501238 w 7557947"/>
              <a:gd name="connsiteY2" fmla="*/ 1853443 h 1865376"/>
              <a:gd name="connsiteX3" fmla="*/ 0 w 7557947"/>
              <a:gd name="connsiteY3" fmla="*/ 1865376 h 1865376"/>
              <a:gd name="connsiteX4" fmla="*/ 0 w 7557947"/>
              <a:gd name="connsiteY4" fmla="*/ 0 h 1865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57947" h="1865376">
                <a:moveTo>
                  <a:pt x="0" y="0"/>
                </a:moveTo>
                <a:lnTo>
                  <a:pt x="7557947" y="0"/>
                </a:lnTo>
                <a:lnTo>
                  <a:pt x="6501238" y="1853443"/>
                </a:lnTo>
                <a:lnTo>
                  <a:pt x="0" y="186537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75000"/>
              <a:alpha val="76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3600" b="1">
                <a:solidFill>
                  <a:schemeClr val="accent5">
                    <a:lumMod val="95000"/>
                  </a:schemeClr>
                </a:solidFill>
              </a:rPr>
              <a:t>Jetzt zum Hands On!</a:t>
            </a:r>
          </a:p>
        </p:txBody>
      </p:sp>
      <p:sp>
        <p:nvSpPr>
          <p:cNvPr id="5" name="Rechteck 5">
            <a:extLst>
              <a:ext uri="{FF2B5EF4-FFF2-40B4-BE49-F238E27FC236}">
                <a16:creationId xmlns:a16="http://schemas.microsoft.com/office/drawing/2014/main" id="{DD1B38E5-8F30-43AB-B0EF-D90BC66D4EB9}"/>
              </a:ext>
            </a:extLst>
          </p:cNvPr>
          <p:cNvSpPr/>
          <p:nvPr/>
        </p:nvSpPr>
        <p:spPr>
          <a:xfrm>
            <a:off x="0" y="5183502"/>
            <a:ext cx="9427781" cy="664848"/>
          </a:xfrm>
          <a:custGeom>
            <a:avLst/>
            <a:gdLst>
              <a:gd name="connsiteX0" fmla="*/ 0 w 6998208"/>
              <a:gd name="connsiteY0" fmla="*/ 0 h 1865376"/>
              <a:gd name="connsiteX1" fmla="*/ 6998208 w 6998208"/>
              <a:gd name="connsiteY1" fmla="*/ 0 h 1865376"/>
              <a:gd name="connsiteX2" fmla="*/ 6998208 w 6998208"/>
              <a:gd name="connsiteY2" fmla="*/ 1865376 h 1865376"/>
              <a:gd name="connsiteX3" fmla="*/ 0 w 6998208"/>
              <a:gd name="connsiteY3" fmla="*/ 1865376 h 1865376"/>
              <a:gd name="connsiteX4" fmla="*/ 0 w 6998208"/>
              <a:gd name="connsiteY4" fmla="*/ 0 h 1865376"/>
              <a:gd name="connsiteX0" fmla="*/ 0 w 6998208"/>
              <a:gd name="connsiteY0" fmla="*/ 12192 h 1877568"/>
              <a:gd name="connsiteX1" fmla="*/ 5913120 w 6998208"/>
              <a:gd name="connsiteY1" fmla="*/ 0 h 1877568"/>
              <a:gd name="connsiteX2" fmla="*/ 6998208 w 6998208"/>
              <a:gd name="connsiteY2" fmla="*/ 1877568 h 1877568"/>
              <a:gd name="connsiteX3" fmla="*/ 0 w 6998208"/>
              <a:gd name="connsiteY3" fmla="*/ 1877568 h 1877568"/>
              <a:gd name="connsiteX4" fmla="*/ 0 w 6998208"/>
              <a:gd name="connsiteY4" fmla="*/ 12192 h 1877568"/>
              <a:gd name="connsiteX0" fmla="*/ 0 w 6998208"/>
              <a:gd name="connsiteY0" fmla="*/ 0 h 1865376"/>
              <a:gd name="connsiteX1" fmla="*/ 5547360 w 6998208"/>
              <a:gd name="connsiteY1" fmla="*/ 0 h 1865376"/>
              <a:gd name="connsiteX2" fmla="*/ 6998208 w 6998208"/>
              <a:gd name="connsiteY2" fmla="*/ 1865376 h 1865376"/>
              <a:gd name="connsiteX3" fmla="*/ 0 w 6998208"/>
              <a:gd name="connsiteY3" fmla="*/ 1865376 h 1865376"/>
              <a:gd name="connsiteX4" fmla="*/ 0 w 6998208"/>
              <a:gd name="connsiteY4" fmla="*/ 0 h 1865376"/>
              <a:gd name="connsiteX0" fmla="*/ 0 w 6691941"/>
              <a:gd name="connsiteY0" fmla="*/ 0 h 1865376"/>
              <a:gd name="connsiteX1" fmla="*/ 5547360 w 6691941"/>
              <a:gd name="connsiteY1" fmla="*/ 0 h 1865376"/>
              <a:gd name="connsiteX2" fmla="*/ 6691941 w 6691941"/>
              <a:gd name="connsiteY2" fmla="*/ 1853444 h 1865376"/>
              <a:gd name="connsiteX3" fmla="*/ 0 w 6691941"/>
              <a:gd name="connsiteY3" fmla="*/ 1865376 h 1865376"/>
              <a:gd name="connsiteX4" fmla="*/ 0 w 6691941"/>
              <a:gd name="connsiteY4" fmla="*/ 0 h 1865376"/>
              <a:gd name="connsiteX0" fmla="*/ 0 w 6258525"/>
              <a:gd name="connsiteY0" fmla="*/ 0 h 1865376"/>
              <a:gd name="connsiteX1" fmla="*/ 5547360 w 6258525"/>
              <a:gd name="connsiteY1" fmla="*/ 0 h 1865376"/>
              <a:gd name="connsiteX2" fmla="*/ 6258525 w 6258525"/>
              <a:gd name="connsiteY2" fmla="*/ 1853444 h 1865376"/>
              <a:gd name="connsiteX3" fmla="*/ 0 w 6258525"/>
              <a:gd name="connsiteY3" fmla="*/ 1865376 h 1865376"/>
              <a:gd name="connsiteX4" fmla="*/ 0 w 6258525"/>
              <a:gd name="connsiteY4" fmla="*/ 0 h 1865376"/>
              <a:gd name="connsiteX0" fmla="*/ 0 w 6501238"/>
              <a:gd name="connsiteY0" fmla="*/ 0 h 1865376"/>
              <a:gd name="connsiteX1" fmla="*/ 5547360 w 6501238"/>
              <a:gd name="connsiteY1" fmla="*/ 0 h 1865376"/>
              <a:gd name="connsiteX2" fmla="*/ 6501238 w 6501238"/>
              <a:gd name="connsiteY2" fmla="*/ 1853443 h 1865376"/>
              <a:gd name="connsiteX3" fmla="*/ 0 w 6501238"/>
              <a:gd name="connsiteY3" fmla="*/ 1865376 h 1865376"/>
              <a:gd name="connsiteX4" fmla="*/ 0 w 6501238"/>
              <a:gd name="connsiteY4" fmla="*/ 0 h 1865376"/>
              <a:gd name="connsiteX0" fmla="*/ 0 w 6093637"/>
              <a:gd name="connsiteY0" fmla="*/ 0 h 1875679"/>
              <a:gd name="connsiteX1" fmla="*/ 5547360 w 6093637"/>
              <a:gd name="connsiteY1" fmla="*/ 0 h 1875679"/>
              <a:gd name="connsiteX2" fmla="*/ 6093637 w 6093637"/>
              <a:gd name="connsiteY2" fmla="*/ 1875679 h 1875679"/>
              <a:gd name="connsiteX3" fmla="*/ 0 w 6093637"/>
              <a:gd name="connsiteY3" fmla="*/ 1865376 h 1875679"/>
              <a:gd name="connsiteX4" fmla="*/ 0 w 6093637"/>
              <a:gd name="connsiteY4" fmla="*/ 0 h 1875679"/>
              <a:gd name="connsiteX0" fmla="*/ 0 w 6093637"/>
              <a:gd name="connsiteY0" fmla="*/ 0 h 1875679"/>
              <a:gd name="connsiteX1" fmla="*/ 5720591 w 6093637"/>
              <a:gd name="connsiteY1" fmla="*/ 44479 h 1875679"/>
              <a:gd name="connsiteX2" fmla="*/ 6093637 w 6093637"/>
              <a:gd name="connsiteY2" fmla="*/ 1875679 h 1875679"/>
              <a:gd name="connsiteX3" fmla="*/ 0 w 6093637"/>
              <a:gd name="connsiteY3" fmla="*/ 1865376 h 1875679"/>
              <a:gd name="connsiteX4" fmla="*/ 0 w 6093637"/>
              <a:gd name="connsiteY4" fmla="*/ 0 h 18756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3637" h="1875679">
                <a:moveTo>
                  <a:pt x="0" y="0"/>
                </a:moveTo>
                <a:lnTo>
                  <a:pt x="5720591" y="44479"/>
                </a:lnTo>
                <a:lnTo>
                  <a:pt x="6093637" y="1875679"/>
                </a:lnTo>
                <a:lnTo>
                  <a:pt x="0" y="186537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75000"/>
              <a:alpha val="76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3600" b="1" err="1">
                <a:solidFill>
                  <a:schemeClr val="accent5">
                    <a:lumMod val="95000"/>
                  </a:schemeClr>
                </a:solidFill>
              </a:rPr>
              <a:t>Git</a:t>
            </a:r>
            <a:r>
              <a:rPr lang="de-DE" sz="3600" b="1">
                <a:solidFill>
                  <a:schemeClr val="accent5">
                    <a:lumMod val="95000"/>
                  </a:schemeClr>
                </a:solidFill>
              </a:rPr>
              <a:t>: https://github.com/lj1337/summarytools</a:t>
            </a:r>
          </a:p>
        </p:txBody>
      </p:sp>
    </p:spTree>
    <p:extLst>
      <p:ext uri="{BB962C8B-B14F-4D97-AF65-F5344CB8AC3E}">
        <p14:creationId xmlns:p14="http://schemas.microsoft.com/office/powerpoint/2010/main" val="3942757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7CD3A9E3-FB42-4CD0-9309-E8D56CB6C2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Quell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643B5B4-13DF-401C-A857-7F658B965ED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19296" y="1864671"/>
            <a:ext cx="11081264" cy="1935169"/>
          </a:xfrm>
        </p:spPr>
        <p:txBody>
          <a:bodyPr lIns="0" tIns="0" rIns="0" bIns="0" anchor="t">
            <a:noAutofit/>
          </a:bodyPr>
          <a:lstStyle/>
          <a:p>
            <a:pPr marL="239395" indent="-239395"/>
            <a:r>
              <a:rPr lang="de-DE" sz="1800">
                <a:ea typeface="+mn-lt"/>
                <a:cs typeface="+mn-lt"/>
              </a:rPr>
              <a:t>https://cran.r-project.org/web/packages/summarytools/vignettes/Introduction.html (18.04.2021)</a:t>
            </a:r>
          </a:p>
          <a:p>
            <a:pPr marL="239395" indent="-239395">
              <a:buClr>
                <a:srgbClr val="000000"/>
              </a:buClr>
            </a:pPr>
            <a:r>
              <a:rPr lang="de-DE" sz="1800">
                <a:ea typeface="+mn-lt"/>
                <a:cs typeface="+mn-lt"/>
              </a:rPr>
              <a:t>https://www.r-bloggers.com/2019/05/easily-explore-your-data-using-the-summarytools-package/ (25.04.2021)</a:t>
            </a:r>
          </a:p>
          <a:p>
            <a:pPr marL="239395" indent="-239395">
              <a:buClr>
                <a:srgbClr val="000000"/>
              </a:buClr>
            </a:pPr>
            <a:r>
              <a:rPr lang="de-DE" sz="1800">
                <a:ea typeface="+mn-lt"/>
                <a:cs typeface="+mn-lt"/>
              </a:rPr>
              <a:t>https://rdrr.io/cran/summarytools/ (25.04.2021)</a:t>
            </a:r>
          </a:p>
          <a:p>
            <a:pPr marL="239395" indent="-239395">
              <a:buClr>
                <a:srgbClr val="000000"/>
              </a:buClr>
            </a:pPr>
            <a:r>
              <a:rPr lang="de-DE" sz="1800">
                <a:ea typeface="+mn-lt"/>
                <a:cs typeface="+mn-lt"/>
              </a:rPr>
              <a:t>https://github.com/dcomtois/summarytools (02.05.2021)</a:t>
            </a:r>
            <a:endParaRPr lang="de-DE" sz="1800">
              <a:ea typeface="+mn-lt"/>
              <a:cs typeface="+mn-lt"/>
              <a:hlinkClick r:id="rId2"/>
            </a:endParaRPr>
          </a:p>
          <a:p>
            <a:pPr marL="239395" indent="-239395">
              <a:buClr>
                <a:srgbClr val="000000"/>
              </a:buClr>
            </a:pPr>
            <a:r>
              <a:rPr lang="de-DE" sz="1800">
                <a:ea typeface="+mn-lt"/>
                <a:cs typeface="+mn-lt"/>
              </a:rPr>
              <a:t>https://cran.r-project.org/web/packages/summarytools/summarytools.pdf (25.04.2021)</a:t>
            </a:r>
            <a:endParaRPr lang="de-DE" sz="1800"/>
          </a:p>
          <a:p>
            <a:pPr marL="239395" indent="-239395">
              <a:buClr>
                <a:srgbClr val="000000"/>
              </a:buClr>
            </a:pPr>
            <a:endParaRPr lang="de-DE" sz="1800"/>
          </a:p>
        </p:txBody>
      </p:sp>
    </p:spTree>
    <p:extLst>
      <p:ext uri="{BB962C8B-B14F-4D97-AF65-F5344CB8AC3E}">
        <p14:creationId xmlns:p14="http://schemas.microsoft.com/office/powerpoint/2010/main" val="3262914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 descr="Ein Bild, das Gras, draußen, Gebäude, Feld enthält.&#10;&#10;Automatisch generierte Beschreibung">
            <a:extLst>
              <a:ext uri="{FF2B5EF4-FFF2-40B4-BE49-F238E27FC236}">
                <a16:creationId xmlns:a16="http://schemas.microsoft.com/office/drawing/2014/main" id="{90A595C7-BAF6-4ECD-98EF-F4195EF7D0E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" b="13969"/>
          <a:stretch/>
        </p:blipFill>
        <p:spPr>
          <a:xfrm>
            <a:off x="0" y="0"/>
            <a:ext cx="12192000" cy="5874327"/>
          </a:xfrm>
          <a:prstGeom prst="rect">
            <a:avLst/>
          </a:prstGeom>
        </p:spPr>
      </p:pic>
      <p:sp>
        <p:nvSpPr>
          <p:cNvPr id="2" name="textBoxChapter">
            <a:extLst>
              <a:ext uri="{FF2B5EF4-FFF2-40B4-BE49-F238E27FC236}">
                <a16:creationId xmlns:a16="http://schemas.microsoft.com/office/drawing/2014/main" id="{E501B46F-755C-4AAD-AA42-B373861A0949}"/>
              </a:ext>
            </a:extLst>
          </p:cNvPr>
          <p:cNvSpPr txBox="1"/>
          <p:nvPr/>
        </p:nvSpPr>
        <p:spPr>
          <a:xfrm>
            <a:off x="2609314" y="6454379"/>
            <a:ext cx="6973372" cy="37110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7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ewsGoth for Porsche Com" panose="020B0506020203020204" pitchFamily="34" charset="0"/>
              <a:ea typeface="+mn-ea"/>
              <a:cs typeface="+mn-cs"/>
            </a:endParaRPr>
          </a:p>
        </p:txBody>
      </p:sp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48426F16-B3D8-4A0D-A615-9CAAA1A5B6E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 tIns="216000"/>
          <a:lstStyle/>
          <a:p>
            <a:r>
              <a:rPr lang="de-DE" sz="4000"/>
              <a:t>Funktionen</a:t>
            </a:r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6007F805-3C32-47FB-8197-6C7DA01B278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 tIns="252000"/>
          <a:lstStyle/>
          <a:p>
            <a:r>
              <a:rPr lang="de-DE" sz="4000"/>
              <a:t> Hands On</a:t>
            </a:r>
          </a:p>
        </p:txBody>
      </p:sp>
      <p:sp>
        <p:nvSpPr>
          <p:cNvPr id="38" name="Textplatzhalter 37">
            <a:extLst>
              <a:ext uri="{FF2B5EF4-FFF2-40B4-BE49-F238E27FC236}">
                <a16:creationId xmlns:a16="http://schemas.microsoft.com/office/drawing/2014/main" id="{276EA4C6-F775-4419-852D-388146E5F4E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/>
              <a:t>2</a:t>
            </a:r>
          </a:p>
        </p:txBody>
      </p:sp>
      <p:sp>
        <p:nvSpPr>
          <p:cNvPr id="42" name="Textplatzhalter 41">
            <a:extLst>
              <a:ext uri="{FF2B5EF4-FFF2-40B4-BE49-F238E27FC236}">
                <a16:creationId xmlns:a16="http://schemas.microsoft.com/office/drawing/2014/main" id="{29127C53-8C96-4711-B9F7-C82C7770487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 tIns="252000"/>
          <a:lstStyle/>
          <a:p>
            <a:r>
              <a:rPr lang="de-DE" sz="4000"/>
              <a:t> Einleitung</a:t>
            </a:r>
            <a:endParaRPr lang="de-DE"/>
          </a:p>
        </p:txBody>
      </p:sp>
      <p:sp>
        <p:nvSpPr>
          <p:cNvPr id="40" name="Textplatzhalter 39">
            <a:extLst>
              <a:ext uri="{FF2B5EF4-FFF2-40B4-BE49-F238E27FC236}">
                <a16:creationId xmlns:a16="http://schemas.microsoft.com/office/drawing/2014/main" id="{5D554CD6-D34C-44A9-9BB9-E7EF31A934B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/>
              <a:t>3</a:t>
            </a:r>
          </a:p>
        </p:txBody>
      </p: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732E3EAF-F39E-4A40-B288-66C0158FBB2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b"/>
          <a:lstStyle/>
          <a:p>
            <a:pPr>
              <a:lnSpc>
                <a:spcPct val="150000"/>
              </a:lnSpc>
            </a:pPr>
            <a:r>
              <a:rPr lang="de-DE" sz="3200">
                <a:latin typeface="+mj-lt"/>
              </a:rPr>
              <a:t>1</a:t>
            </a:r>
          </a:p>
        </p:txBody>
      </p:sp>
      <p:sp>
        <p:nvSpPr>
          <p:cNvPr id="14" name="Rechteck 4">
            <a:extLst>
              <a:ext uri="{FF2B5EF4-FFF2-40B4-BE49-F238E27FC236}">
                <a16:creationId xmlns:a16="http://schemas.microsoft.com/office/drawing/2014/main" id="{45294CCF-9827-4BD9-9DA6-1B5675E45382}"/>
              </a:ext>
            </a:extLst>
          </p:cNvPr>
          <p:cNvSpPr/>
          <p:nvPr/>
        </p:nvSpPr>
        <p:spPr>
          <a:xfrm>
            <a:off x="-13971" y="87272"/>
            <a:ext cx="2052322" cy="379453"/>
          </a:xfrm>
          <a:custGeom>
            <a:avLst/>
            <a:gdLst>
              <a:gd name="connsiteX0" fmla="*/ 0 w 2827090"/>
              <a:gd name="connsiteY0" fmla="*/ 0 h 738231"/>
              <a:gd name="connsiteX1" fmla="*/ 2827090 w 2827090"/>
              <a:gd name="connsiteY1" fmla="*/ 0 h 738231"/>
              <a:gd name="connsiteX2" fmla="*/ 2827090 w 2827090"/>
              <a:gd name="connsiteY2" fmla="*/ 738231 h 738231"/>
              <a:gd name="connsiteX3" fmla="*/ 0 w 2827090"/>
              <a:gd name="connsiteY3" fmla="*/ 738231 h 738231"/>
              <a:gd name="connsiteX4" fmla="*/ 0 w 2827090"/>
              <a:gd name="connsiteY4" fmla="*/ 0 h 738231"/>
              <a:gd name="connsiteX0" fmla="*/ 0 w 2827090"/>
              <a:gd name="connsiteY0" fmla="*/ 0 h 738231"/>
              <a:gd name="connsiteX1" fmla="*/ 2827090 w 2827090"/>
              <a:gd name="connsiteY1" fmla="*/ 0 h 738231"/>
              <a:gd name="connsiteX2" fmla="*/ 2063692 w 2827090"/>
              <a:gd name="connsiteY2" fmla="*/ 729842 h 738231"/>
              <a:gd name="connsiteX3" fmla="*/ 0 w 2827090"/>
              <a:gd name="connsiteY3" fmla="*/ 738231 h 738231"/>
              <a:gd name="connsiteX4" fmla="*/ 0 w 2827090"/>
              <a:gd name="connsiteY4" fmla="*/ 0 h 738231"/>
              <a:gd name="connsiteX0" fmla="*/ 0 w 2615784"/>
              <a:gd name="connsiteY0" fmla="*/ 0 h 738231"/>
              <a:gd name="connsiteX1" fmla="*/ 2615784 w 2615784"/>
              <a:gd name="connsiteY1" fmla="*/ 0 h 738231"/>
              <a:gd name="connsiteX2" fmla="*/ 2063692 w 2615784"/>
              <a:gd name="connsiteY2" fmla="*/ 729842 h 738231"/>
              <a:gd name="connsiteX3" fmla="*/ 0 w 2615784"/>
              <a:gd name="connsiteY3" fmla="*/ 738231 h 738231"/>
              <a:gd name="connsiteX4" fmla="*/ 0 w 2615784"/>
              <a:gd name="connsiteY4" fmla="*/ 0 h 738231"/>
              <a:gd name="connsiteX0" fmla="*/ 0 w 2464096"/>
              <a:gd name="connsiteY0" fmla="*/ 0 h 738231"/>
              <a:gd name="connsiteX1" fmla="*/ 2464096 w 2464096"/>
              <a:gd name="connsiteY1" fmla="*/ 8389 h 738231"/>
              <a:gd name="connsiteX2" fmla="*/ 2063692 w 2464096"/>
              <a:gd name="connsiteY2" fmla="*/ 729842 h 738231"/>
              <a:gd name="connsiteX3" fmla="*/ 0 w 2464096"/>
              <a:gd name="connsiteY3" fmla="*/ 738231 h 738231"/>
              <a:gd name="connsiteX4" fmla="*/ 0 w 2464096"/>
              <a:gd name="connsiteY4" fmla="*/ 0 h 738231"/>
              <a:gd name="connsiteX0" fmla="*/ 0 w 2464096"/>
              <a:gd name="connsiteY0" fmla="*/ 0 h 738231"/>
              <a:gd name="connsiteX1" fmla="*/ 2464096 w 2464096"/>
              <a:gd name="connsiteY1" fmla="*/ 8389 h 738231"/>
              <a:gd name="connsiteX2" fmla="*/ 1777790 w 2464096"/>
              <a:gd name="connsiteY2" fmla="*/ 729842 h 738231"/>
              <a:gd name="connsiteX3" fmla="*/ 0 w 2464096"/>
              <a:gd name="connsiteY3" fmla="*/ 738231 h 738231"/>
              <a:gd name="connsiteX4" fmla="*/ 0 w 2464096"/>
              <a:gd name="connsiteY4" fmla="*/ 0 h 7382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64096" h="738231">
                <a:moveTo>
                  <a:pt x="0" y="0"/>
                </a:moveTo>
                <a:lnTo>
                  <a:pt x="2464096" y="8389"/>
                </a:lnTo>
                <a:lnTo>
                  <a:pt x="1777790" y="729842"/>
                </a:lnTo>
                <a:lnTo>
                  <a:pt x="0" y="738231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2800" b="1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502197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4" descr="Ein Bild, das Text enthält.&#10;&#10;Automatisch generierte Beschreibung">
            <a:extLst>
              <a:ext uri="{FF2B5EF4-FFF2-40B4-BE49-F238E27FC236}">
                <a16:creationId xmlns:a16="http://schemas.microsoft.com/office/drawing/2014/main" id="{BDEF67BF-2CBA-4216-90C1-290500AC722E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02" b="3802"/>
          <a:stretch>
            <a:fillRect/>
          </a:stretch>
        </p:blipFill>
        <p:spPr/>
      </p:pic>
      <p:sp>
        <p:nvSpPr>
          <p:cNvPr id="10" name="Rechteck 9">
            <a:hlinkClick r:id="" action="ppaction://hlinkshowjump?jump=endshow"/>
            <a:extLst>
              <a:ext uri="{FF2B5EF4-FFF2-40B4-BE49-F238E27FC236}">
                <a16:creationId xmlns:a16="http://schemas.microsoft.com/office/drawing/2014/main" id="{90D3A113-1007-4006-BFBA-A180ED2B8C51}"/>
              </a:ext>
            </a:extLst>
          </p:cNvPr>
          <p:cNvSpPr/>
          <p:nvPr/>
        </p:nvSpPr>
        <p:spPr>
          <a:xfrm>
            <a:off x="10597415" y="5265018"/>
            <a:ext cx="1594585" cy="583331"/>
          </a:xfrm>
          <a:prstGeom prst="rect">
            <a:avLst/>
          </a:prstGeom>
          <a:solidFill>
            <a:srgbClr val="9E9F99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800" b="1">
                <a:solidFill>
                  <a:schemeClr val="accent5">
                    <a:lumMod val="95000"/>
                  </a:schemeClr>
                </a:solidFill>
              </a:rPr>
              <a:t>Beenden</a:t>
            </a:r>
          </a:p>
        </p:txBody>
      </p:sp>
    </p:spTree>
    <p:extLst>
      <p:ext uri="{BB962C8B-B14F-4D97-AF65-F5344CB8AC3E}">
        <p14:creationId xmlns:p14="http://schemas.microsoft.com/office/powerpoint/2010/main" val="169411759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airplane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 descr="Ein Bild, das Gras, draußen, Gebäude, Feld enthält.&#10;&#10;Automatisch generierte Beschreibung">
            <a:extLst>
              <a:ext uri="{FF2B5EF4-FFF2-40B4-BE49-F238E27FC236}">
                <a16:creationId xmlns:a16="http://schemas.microsoft.com/office/drawing/2014/main" id="{90A595C7-BAF6-4ECD-98EF-F4195EF7D0E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" b="13969"/>
          <a:stretch/>
        </p:blipFill>
        <p:spPr>
          <a:xfrm>
            <a:off x="0" y="0"/>
            <a:ext cx="12192000" cy="5874327"/>
          </a:xfrm>
          <a:prstGeom prst="rect">
            <a:avLst/>
          </a:prstGeom>
        </p:spPr>
      </p:pic>
      <p:sp>
        <p:nvSpPr>
          <p:cNvPr id="2" name="textBoxChapter">
            <a:extLst>
              <a:ext uri="{FF2B5EF4-FFF2-40B4-BE49-F238E27FC236}">
                <a16:creationId xmlns:a16="http://schemas.microsoft.com/office/drawing/2014/main" id="{E501B46F-755C-4AAD-AA42-B373861A0949}"/>
              </a:ext>
            </a:extLst>
          </p:cNvPr>
          <p:cNvSpPr txBox="1"/>
          <p:nvPr/>
        </p:nvSpPr>
        <p:spPr>
          <a:xfrm>
            <a:off x="2609314" y="6454379"/>
            <a:ext cx="6973372" cy="37110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7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ewsGoth for Porsche Com" panose="020B0506020203020204" pitchFamily="34" charset="0"/>
              <a:ea typeface="+mn-ea"/>
              <a:cs typeface="+mn-cs"/>
            </a:endParaRPr>
          </a:p>
        </p:txBody>
      </p:sp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48426F16-B3D8-4A0D-A615-9CAAA1A5B6E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 tIns="216000"/>
          <a:lstStyle/>
          <a:p>
            <a:r>
              <a:rPr lang="de-DE" sz="4000"/>
              <a:t>Funktionen</a:t>
            </a:r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6007F805-3C32-47FB-8197-6C7DA01B278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 tIns="252000"/>
          <a:lstStyle/>
          <a:p>
            <a:r>
              <a:rPr lang="de-DE" sz="4000"/>
              <a:t> Hands On</a:t>
            </a:r>
          </a:p>
        </p:txBody>
      </p:sp>
      <p:sp>
        <p:nvSpPr>
          <p:cNvPr id="38" name="Textplatzhalter 37">
            <a:extLst>
              <a:ext uri="{FF2B5EF4-FFF2-40B4-BE49-F238E27FC236}">
                <a16:creationId xmlns:a16="http://schemas.microsoft.com/office/drawing/2014/main" id="{276EA4C6-F775-4419-852D-388146E5F4E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/>
              <a:t>2</a:t>
            </a:r>
          </a:p>
        </p:txBody>
      </p:sp>
      <p:sp>
        <p:nvSpPr>
          <p:cNvPr id="42" name="Textplatzhalter 41">
            <a:extLst>
              <a:ext uri="{FF2B5EF4-FFF2-40B4-BE49-F238E27FC236}">
                <a16:creationId xmlns:a16="http://schemas.microsoft.com/office/drawing/2014/main" id="{29127C53-8C96-4711-B9F7-C82C7770487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 tIns="252000"/>
          <a:lstStyle/>
          <a:p>
            <a:r>
              <a:rPr lang="de-DE" sz="4000"/>
              <a:t> Einleitung</a:t>
            </a:r>
            <a:endParaRPr lang="de-DE"/>
          </a:p>
        </p:txBody>
      </p:sp>
      <p:sp>
        <p:nvSpPr>
          <p:cNvPr id="40" name="Textplatzhalter 39">
            <a:extLst>
              <a:ext uri="{FF2B5EF4-FFF2-40B4-BE49-F238E27FC236}">
                <a16:creationId xmlns:a16="http://schemas.microsoft.com/office/drawing/2014/main" id="{5D554CD6-D34C-44A9-9BB9-E7EF31A934B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solidFill>
            <a:schemeClr val="tx1"/>
          </a:solidFill>
        </p:spPr>
        <p:txBody>
          <a:bodyPr/>
          <a:lstStyle/>
          <a:p>
            <a:r>
              <a:rPr lang="de-DE"/>
              <a:t>3</a:t>
            </a:r>
          </a:p>
        </p:txBody>
      </p: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732E3EAF-F39E-4A40-B288-66C0158FBB2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b"/>
          <a:lstStyle/>
          <a:p>
            <a:pPr>
              <a:lnSpc>
                <a:spcPct val="150000"/>
              </a:lnSpc>
            </a:pPr>
            <a:r>
              <a:rPr lang="de-DE" sz="3200">
                <a:latin typeface="+mj-lt"/>
              </a:rPr>
              <a:t>1</a:t>
            </a:r>
          </a:p>
        </p:txBody>
      </p:sp>
      <p:sp>
        <p:nvSpPr>
          <p:cNvPr id="14" name="Rechteck 4">
            <a:extLst>
              <a:ext uri="{FF2B5EF4-FFF2-40B4-BE49-F238E27FC236}">
                <a16:creationId xmlns:a16="http://schemas.microsoft.com/office/drawing/2014/main" id="{45294CCF-9827-4BD9-9DA6-1B5675E45382}"/>
              </a:ext>
            </a:extLst>
          </p:cNvPr>
          <p:cNvSpPr/>
          <p:nvPr/>
        </p:nvSpPr>
        <p:spPr>
          <a:xfrm>
            <a:off x="-13971" y="87272"/>
            <a:ext cx="2052322" cy="379453"/>
          </a:xfrm>
          <a:custGeom>
            <a:avLst/>
            <a:gdLst>
              <a:gd name="connsiteX0" fmla="*/ 0 w 2827090"/>
              <a:gd name="connsiteY0" fmla="*/ 0 h 738231"/>
              <a:gd name="connsiteX1" fmla="*/ 2827090 w 2827090"/>
              <a:gd name="connsiteY1" fmla="*/ 0 h 738231"/>
              <a:gd name="connsiteX2" fmla="*/ 2827090 w 2827090"/>
              <a:gd name="connsiteY2" fmla="*/ 738231 h 738231"/>
              <a:gd name="connsiteX3" fmla="*/ 0 w 2827090"/>
              <a:gd name="connsiteY3" fmla="*/ 738231 h 738231"/>
              <a:gd name="connsiteX4" fmla="*/ 0 w 2827090"/>
              <a:gd name="connsiteY4" fmla="*/ 0 h 738231"/>
              <a:gd name="connsiteX0" fmla="*/ 0 w 2827090"/>
              <a:gd name="connsiteY0" fmla="*/ 0 h 738231"/>
              <a:gd name="connsiteX1" fmla="*/ 2827090 w 2827090"/>
              <a:gd name="connsiteY1" fmla="*/ 0 h 738231"/>
              <a:gd name="connsiteX2" fmla="*/ 2063692 w 2827090"/>
              <a:gd name="connsiteY2" fmla="*/ 729842 h 738231"/>
              <a:gd name="connsiteX3" fmla="*/ 0 w 2827090"/>
              <a:gd name="connsiteY3" fmla="*/ 738231 h 738231"/>
              <a:gd name="connsiteX4" fmla="*/ 0 w 2827090"/>
              <a:gd name="connsiteY4" fmla="*/ 0 h 738231"/>
              <a:gd name="connsiteX0" fmla="*/ 0 w 2615784"/>
              <a:gd name="connsiteY0" fmla="*/ 0 h 738231"/>
              <a:gd name="connsiteX1" fmla="*/ 2615784 w 2615784"/>
              <a:gd name="connsiteY1" fmla="*/ 0 h 738231"/>
              <a:gd name="connsiteX2" fmla="*/ 2063692 w 2615784"/>
              <a:gd name="connsiteY2" fmla="*/ 729842 h 738231"/>
              <a:gd name="connsiteX3" fmla="*/ 0 w 2615784"/>
              <a:gd name="connsiteY3" fmla="*/ 738231 h 738231"/>
              <a:gd name="connsiteX4" fmla="*/ 0 w 2615784"/>
              <a:gd name="connsiteY4" fmla="*/ 0 h 738231"/>
              <a:gd name="connsiteX0" fmla="*/ 0 w 2464096"/>
              <a:gd name="connsiteY0" fmla="*/ 0 h 738231"/>
              <a:gd name="connsiteX1" fmla="*/ 2464096 w 2464096"/>
              <a:gd name="connsiteY1" fmla="*/ 8389 h 738231"/>
              <a:gd name="connsiteX2" fmla="*/ 2063692 w 2464096"/>
              <a:gd name="connsiteY2" fmla="*/ 729842 h 738231"/>
              <a:gd name="connsiteX3" fmla="*/ 0 w 2464096"/>
              <a:gd name="connsiteY3" fmla="*/ 738231 h 738231"/>
              <a:gd name="connsiteX4" fmla="*/ 0 w 2464096"/>
              <a:gd name="connsiteY4" fmla="*/ 0 h 738231"/>
              <a:gd name="connsiteX0" fmla="*/ 0 w 2464096"/>
              <a:gd name="connsiteY0" fmla="*/ 0 h 738231"/>
              <a:gd name="connsiteX1" fmla="*/ 2464096 w 2464096"/>
              <a:gd name="connsiteY1" fmla="*/ 8389 h 738231"/>
              <a:gd name="connsiteX2" fmla="*/ 1777790 w 2464096"/>
              <a:gd name="connsiteY2" fmla="*/ 729842 h 738231"/>
              <a:gd name="connsiteX3" fmla="*/ 0 w 2464096"/>
              <a:gd name="connsiteY3" fmla="*/ 738231 h 738231"/>
              <a:gd name="connsiteX4" fmla="*/ 0 w 2464096"/>
              <a:gd name="connsiteY4" fmla="*/ 0 h 7382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64096" h="738231">
                <a:moveTo>
                  <a:pt x="0" y="0"/>
                </a:moveTo>
                <a:lnTo>
                  <a:pt x="2464096" y="8389"/>
                </a:lnTo>
                <a:lnTo>
                  <a:pt x="1777790" y="729842"/>
                </a:lnTo>
                <a:lnTo>
                  <a:pt x="0" y="738231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2800" b="1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065637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EAB5E756-A797-4707-948B-5F1206BC4A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/>
              <a:t>ctable</a:t>
            </a:r>
            <a:r>
              <a:rPr lang="de-DE"/>
              <a:t>()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6E90D620-3773-4B15-99C3-336728AE6C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47408" y="1709422"/>
            <a:ext cx="7897183" cy="3346672"/>
          </a:xfrm>
          <a:prstGeom prst="rect">
            <a:avLst/>
          </a:prstGeom>
        </p:spPr>
      </p:pic>
      <p:sp>
        <p:nvSpPr>
          <p:cNvPr id="6" name="textBoxChapter">
            <a:extLst>
              <a:ext uri="{FF2B5EF4-FFF2-40B4-BE49-F238E27FC236}">
                <a16:creationId xmlns:a16="http://schemas.microsoft.com/office/drawing/2014/main" id="{0389FB6D-6222-4B03-8024-5A5C4D56C64F}"/>
              </a:ext>
            </a:extLst>
          </p:cNvPr>
          <p:cNvSpPr txBox="1"/>
          <p:nvPr/>
        </p:nvSpPr>
        <p:spPr>
          <a:xfrm>
            <a:off x="2609314" y="6454379"/>
            <a:ext cx="6973372" cy="37110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unktionen/ </a:t>
            </a:r>
            <a:r>
              <a:rPr lang="de-DE" sz="1800" err="1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table</a:t>
            </a:r>
            <a:r>
              <a:rPr lang="de-DE" sz="180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endParaRPr kumimoji="0" lang="de-DE" sz="167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rsche Next TT" panose="020B0504020101010102" pitchFamily="34" charset="0"/>
              <a:ea typeface="+mn-ea"/>
              <a:cs typeface="+mn-cs"/>
            </a:endParaRP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B898DC95-C19D-4A56-85FF-DCF45C6D050A}"/>
              </a:ext>
            </a:extLst>
          </p:cNvPr>
          <p:cNvGrpSpPr/>
          <p:nvPr/>
        </p:nvGrpSpPr>
        <p:grpSpPr>
          <a:xfrm>
            <a:off x="1049991" y="1183341"/>
            <a:ext cx="11916709" cy="617969"/>
            <a:chOff x="1049991" y="1183341"/>
            <a:chExt cx="11916709" cy="617969"/>
          </a:xfrm>
        </p:grpSpPr>
        <p:sp>
          <p:nvSpPr>
            <p:cNvPr id="8" name="Rechteck 5">
              <a:extLst>
                <a:ext uri="{FF2B5EF4-FFF2-40B4-BE49-F238E27FC236}">
                  <a16:creationId xmlns:a16="http://schemas.microsoft.com/office/drawing/2014/main" id="{DFE24EDA-AA65-43E7-8C2E-590C854C5AFB}"/>
                </a:ext>
              </a:extLst>
            </p:cNvPr>
            <p:cNvSpPr/>
            <p:nvPr/>
          </p:nvSpPr>
          <p:spPr>
            <a:xfrm>
              <a:off x="1049991" y="1183341"/>
              <a:ext cx="11916709" cy="442707"/>
            </a:xfrm>
            <a:custGeom>
              <a:avLst/>
              <a:gdLst>
                <a:gd name="connsiteX0" fmla="*/ 0 w 9681883"/>
                <a:gd name="connsiteY0" fmla="*/ 0 h 442707"/>
                <a:gd name="connsiteX1" fmla="*/ 9681883 w 9681883"/>
                <a:gd name="connsiteY1" fmla="*/ 0 h 442707"/>
                <a:gd name="connsiteX2" fmla="*/ 9681883 w 9681883"/>
                <a:gd name="connsiteY2" fmla="*/ 442707 h 442707"/>
                <a:gd name="connsiteX3" fmla="*/ 0 w 9681883"/>
                <a:gd name="connsiteY3" fmla="*/ 442707 h 442707"/>
                <a:gd name="connsiteX4" fmla="*/ 0 w 9681883"/>
                <a:gd name="connsiteY4" fmla="*/ 0 h 442707"/>
                <a:gd name="connsiteX0" fmla="*/ 0 w 9681883"/>
                <a:gd name="connsiteY0" fmla="*/ 0 h 442707"/>
                <a:gd name="connsiteX1" fmla="*/ 9049872 w 9681883"/>
                <a:gd name="connsiteY1" fmla="*/ 0 h 442707"/>
                <a:gd name="connsiteX2" fmla="*/ 9681883 w 9681883"/>
                <a:gd name="connsiteY2" fmla="*/ 442707 h 442707"/>
                <a:gd name="connsiteX3" fmla="*/ 0 w 9681883"/>
                <a:gd name="connsiteY3" fmla="*/ 442707 h 442707"/>
                <a:gd name="connsiteX4" fmla="*/ 0 w 9681883"/>
                <a:gd name="connsiteY4" fmla="*/ 0 h 442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681883" h="442707">
                  <a:moveTo>
                    <a:pt x="0" y="0"/>
                  </a:moveTo>
                  <a:lnTo>
                    <a:pt x="9049872" y="0"/>
                  </a:lnTo>
                  <a:lnTo>
                    <a:pt x="9681883" y="442707"/>
                  </a:lnTo>
                  <a:lnTo>
                    <a:pt x="0" y="44270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EEEEE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err="1">
                <a:solidFill>
                  <a:schemeClr val="tx1"/>
                </a:solidFill>
              </a:endParaRPr>
            </a:p>
          </p:txBody>
        </p:sp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8B3A08DF-3E7C-4D38-80C2-A86C85A40861}"/>
                </a:ext>
              </a:extLst>
            </p:cNvPr>
            <p:cNvSpPr txBox="1"/>
            <p:nvPr/>
          </p:nvSpPr>
          <p:spPr>
            <a:xfrm>
              <a:off x="1128993" y="1247312"/>
              <a:ext cx="9883588" cy="55399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sz="2000" b="1" err="1">
                  <a:solidFill>
                    <a:srgbClr val="3A6B9B"/>
                  </a:solidFill>
                </a:rPr>
                <a:t>ctable</a:t>
              </a:r>
              <a:r>
                <a:rPr lang="de-DE" sz="2000" b="1">
                  <a:solidFill>
                    <a:srgbClr val="3A6B9B"/>
                  </a:solidFill>
                </a:rPr>
                <a:t>(x = </a:t>
              </a:r>
              <a:r>
                <a:rPr lang="de-DE" sz="2000" b="1" err="1">
                  <a:solidFill>
                    <a:srgbClr val="3A6B9B"/>
                  </a:solidFill>
                </a:rPr>
                <a:t>tobacco$smoker</a:t>
              </a:r>
              <a:r>
                <a:rPr lang="de-DE" sz="2000" b="1">
                  <a:solidFill>
                    <a:srgbClr val="3A6B9B"/>
                  </a:solidFill>
                </a:rPr>
                <a:t>, y = </a:t>
              </a:r>
              <a:r>
                <a:rPr lang="de-DE" sz="2000" b="1" err="1">
                  <a:solidFill>
                    <a:srgbClr val="3A6B9B"/>
                  </a:solidFill>
                </a:rPr>
                <a:t>tobacco$diseased</a:t>
              </a:r>
              <a:r>
                <a:rPr lang="de-DE" sz="2000" b="1">
                  <a:solidFill>
                    <a:srgbClr val="3A6B9B"/>
                  </a:solidFill>
                </a:rPr>
                <a:t>, </a:t>
              </a:r>
              <a:r>
                <a:rPr lang="de-DE" sz="2000" b="1" err="1">
                  <a:solidFill>
                    <a:srgbClr val="3A6B9B"/>
                  </a:solidFill>
                </a:rPr>
                <a:t>prop</a:t>
              </a:r>
              <a:r>
                <a:rPr lang="de-DE" sz="2000" b="1">
                  <a:solidFill>
                    <a:srgbClr val="3A6B9B"/>
                  </a:solidFill>
                </a:rPr>
                <a:t> = "r")</a:t>
              </a:r>
            </a:p>
            <a:p>
              <a:endParaRPr lang="de-DE" sz="1600" err="1"/>
            </a:p>
          </p:txBody>
        </p:sp>
      </p:grpSp>
    </p:spTree>
    <p:extLst>
      <p:ext uri="{BB962C8B-B14F-4D97-AF65-F5344CB8AC3E}">
        <p14:creationId xmlns:p14="http://schemas.microsoft.com/office/powerpoint/2010/main" val="3401971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 descr="Ein Bild, das Gras, draußen, Gebäude, Feld enthält.&#10;&#10;Automatisch generierte Beschreibung">
            <a:extLst>
              <a:ext uri="{FF2B5EF4-FFF2-40B4-BE49-F238E27FC236}">
                <a16:creationId xmlns:a16="http://schemas.microsoft.com/office/drawing/2014/main" id="{90A595C7-BAF6-4ECD-98EF-F4195EF7D0E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" b="13969"/>
          <a:stretch/>
        </p:blipFill>
        <p:spPr>
          <a:xfrm>
            <a:off x="0" y="0"/>
            <a:ext cx="12192000" cy="5874327"/>
          </a:xfrm>
          <a:prstGeom prst="rect">
            <a:avLst/>
          </a:prstGeom>
        </p:spPr>
      </p:pic>
      <p:sp>
        <p:nvSpPr>
          <p:cNvPr id="2" name="textBoxChapter">
            <a:extLst>
              <a:ext uri="{FF2B5EF4-FFF2-40B4-BE49-F238E27FC236}">
                <a16:creationId xmlns:a16="http://schemas.microsoft.com/office/drawing/2014/main" id="{E501B46F-755C-4AAD-AA42-B373861A0949}"/>
              </a:ext>
            </a:extLst>
          </p:cNvPr>
          <p:cNvSpPr txBox="1"/>
          <p:nvPr/>
        </p:nvSpPr>
        <p:spPr>
          <a:xfrm>
            <a:off x="2609314" y="6454379"/>
            <a:ext cx="6973372" cy="37110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7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ewsGoth for Porsche Com" panose="020B0506020203020204" pitchFamily="34" charset="0"/>
              <a:ea typeface="+mn-ea"/>
              <a:cs typeface="+mn-cs"/>
            </a:endParaRPr>
          </a:p>
        </p:txBody>
      </p:sp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48426F16-B3D8-4A0D-A615-9CAAA1A5B6E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 tIns="216000"/>
          <a:lstStyle/>
          <a:p>
            <a:r>
              <a:rPr lang="de-DE" sz="4000"/>
              <a:t>Funktionen</a:t>
            </a:r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6007F805-3C32-47FB-8197-6C7DA01B278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 tIns="252000"/>
          <a:lstStyle/>
          <a:p>
            <a:r>
              <a:rPr lang="de-DE" sz="4000"/>
              <a:t> Hands On</a:t>
            </a:r>
          </a:p>
        </p:txBody>
      </p:sp>
      <p:sp>
        <p:nvSpPr>
          <p:cNvPr id="38" name="Textplatzhalter 37">
            <a:extLst>
              <a:ext uri="{FF2B5EF4-FFF2-40B4-BE49-F238E27FC236}">
                <a16:creationId xmlns:a16="http://schemas.microsoft.com/office/drawing/2014/main" id="{276EA4C6-F775-4419-852D-388146E5F4E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/>
              <a:t>2</a:t>
            </a:r>
          </a:p>
        </p:txBody>
      </p:sp>
      <p:sp>
        <p:nvSpPr>
          <p:cNvPr id="42" name="Textplatzhalter 41">
            <a:extLst>
              <a:ext uri="{FF2B5EF4-FFF2-40B4-BE49-F238E27FC236}">
                <a16:creationId xmlns:a16="http://schemas.microsoft.com/office/drawing/2014/main" id="{29127C53-8C96-4711-B9F7-C82C7770487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 tIns="252000"/>
          <a:lstStyle/>
          <a:p>
            <a:r>
              <a:rPr lang="de-DE" sz="4000"/>
              <a:t> Einleitung</a:t>
            </a:r>
            <a:endParaRPr lang="de-DE"/>
          </a:p>
        </p:txBody>
      </p:sp>
      <p:sp>
        <p:nvSpPr>
          <p:cNvPr id="40" name="Textplatzhalter 39">
            <a:extLst>
              <a:ext uri="{FF2B5EF4-FFF2-40B4-BE49-F238E27FC236}">
                <a16:creationId xmlns:a16="http://schemas.microsoft.com/office/drawing/2014/main" id="{5D554CD6-D34C-44A9-9BB9-E7EF31A934B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/>
              <a:t>3</a:t>
            </a:r>
          </a:p>
        </p:txBody>
      </p: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732E3EAF-F39E-4A40-B288-66C0158FBB2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solidFill>
            <a:schemeClr val="tx1"/>
          </a:solidFill>
          <a:ln>
            <a:noFill/>
          </a:ln>
        </p:spPr>
        <p:txBody>
          <a:bodyPr anchor="b"/>
          <a:lstStyle/>
          <a:p>
            <a:pPr>
              <a:lnSpc>
                <a:spcPct val="150000"/>
              </a:lnSpc>
            </a:pPr>
            <a:r>
              <a:rPr lang="de-DE" sz="3200">
                <a:latin typeface="+mj-lt"/>
              </a:rPr>
              <a:t>1</a:t>
            </a:r>
          </a:p>
        </p:txBody>
      </p:sp>
      <p:sp>
        <p:nvSpPr>
          <p:cNvPr id="14" name="Rechteck 4">
            <a:extLst>
              <a:ext uri="{FF2B5EF4-FFF2-40B4-BE49-F238E27FC236}">
                <a16:creationId xmlns:a16="http://schemas.microsoft.com/office/drawing/2014/main" id="{45294CCF-9827-4BD9-9DA6-1B5675E45382}"/>
              </a:ext>
            </a:extLst>
          </p:cNvPr>
          <p:cNvSpPr/>
          <p:nvPr/>
        </p:nvSpPr>
        <p:spPr>
          <a:xfrm>
            <a:off x="-13971" y="87272"/>
            <a:ext cx="2052322" cy="379453"/>
          </a:xfrm>
          <a:custGeom>
            <a:avLst/>
            <a:gdLst>
              <a:gd name="connsiteX0" fmla="*/ 0 w 2827090"/>
              <a:gd name="connsiteY0" fmla="*/ 0 h 738231"/>
              <a:gd name="connsiteX1" fmla="*/ 2827090 w 2827090"/>
              <a:gd name="connsiteY1" fmla="*/ 0 h 738231"/>
              <a:gd name="connsiteX2" fmla="*/ 2827090 w 2827090"/>
              <a:gd name="connsiteY2" fmla="*/ 738231 h 738231"/>
              <a:gd name="connsiteX3" fmla="*/ 0 w 2827090"/>
              <a:gd name="connsiteY3" fmla="*/ 738231 h 738231"/>
              <a:gd name="connsiteX4" fmla="*/ 0 w 2827090"/>
              <a:gd name="connsiteY4" fmla="*/ 0 h 738231"/>
              <a:gd name="connsiteX0" fmla="*/ 0 w 2827090"/>
              <a:gd name="connsiteY0" fmla="*/ 0 h 738231"/>
              <a:gd name="connsiteX1" fmla="*/ 2827090 w 2827090"/>
              <a:gd name="connsiteY1" fmla="*/ 0 h 738231"/>
              <a:gd name="connsiteX2" fmla="*/ 2063692 w 2827090"/>
              <a:gd name="connsiteY2" fmla="*/ 729842 h 738231"/>
              <a:gd name="connsiteX3" fmla="*/ 0 w 2827090"/>
              <a:gd name="connsiteY3" fmla="*/ 738231 h 738231"/>
              <a:gd name="connsiteX4" fmla="*/ 0 w 2827090"/>
              <a:gd name="connsiteY4" fmla="*/ 0 h 738231"/>
              <a:gd name="connsiteX0" fmla="*/ 0 w 2615784"/>
              <a:gd name="connsiteY0" fmla="*/ 0 h 738231"/>
              <a:gd name="connsiteX1" fmla="*/ 2615784 w 2615784"/>
              <a:gd name="connsiteY1" fmla="*/ 0 h 738231"/>
              <a:gd name="connsiteX2" fmla="*/ 2063692 w 2615784"/>
              <a:gd name="connsiteY2" fmla="*/ 729842 h 738231"/>
              <a:gd name="connsiteX3" fmla="*/ 0 w 2615784"/>
              <a:gd name="connsiteY3" fmla="*/ 738231 h 738231"/>
              <a:gd name="connsiteX4" fmla="*/ 0 w 2615784"/>
              <a:gd name="connsiteY4" fmla="*/ 0 h 738231"/>
              <a:gd name="connsiteX0" fmla="*/ 0 w 2464096"/>
              <a:gd name="connsiteY0" fmla="*/ 0 h 738231"/>
              <a:gd name="connsiteX1" fmla="*/ 2464096 w 2464096"/>
              <a:gd name="connsiteY1" fmla="*/ 8389 h 738231"/>
              <a:gd name="connsiteX2" fmla="*/ 2063692 w 2464096"/>
              <a:gd name="connsiteY2" fmla="*/ 729842 h 738231"/>
              <a:gd name="connsiteX3" fmla="*/ 0 w 2464096"/>
              <a:gd name="connsiteY3" fmla="*/ 738231 h 738231"/>
              <a:gd name="connsiteX4" fmla="*/ 0 w 2464096"/>
              <a:gd name="connsiteY4" fmla="*/ 0 h 738231"/>
              <a:gd name="connsiteX0" fmla="*/ 0 w 2464096"/>
              <a:gd name="connsiteY0" fmla="*/ 0 h 738231"/>
              <a:gd name="connsiteX1" fmla="*/ 2464096 w 2464096"/>
              <a:gd name="connsiteY1" fmla="*/ 8389 h 738231"/>
              <a:gd name="connsiteX2" fmla="*/ 1777790 w 2464096"/>
              <a:gd name="connsiteY2" fmla="*/ 729842 h 738231"/>
              <a:gd name="connsiteX3" fmla="*/ 0 w 2464096"/>
              <a:gd name="connsiteY3" fmla="*/ 738231 h 738231"/>
              <a:gd name="connsiteX4" fmla="*/ 0 w 2464096"/>
              <a:gd name="connsiteY4" fmla="*/ 0 h 7382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64096" h="738231">
                <a:moveTo>
                  <a:pt x="0" y="0"/>
                </a:moveTo>
                <a:lnTo>
                  <a:pt x="2464096" y="8389"/>
                </a:lnTo>
                <a:lnTo>
                  <a:pt x="1777790" y="729842"/>
                </a:lnTo>
                <a:lnTo>
                  <a:pt x="0" y="738231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2800" b="1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150874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" name="Bildplatzhalter 59" descr="Ein Bild, das Tisch enthält.&#10;&#10;Automatisch generierte Beschreibung">
            <a:extLst>
              <a:ext uri="{FF2B5EF4-FFF2-40B4-BE49-F238E27FC236}">
                <a16:creationId xmlns:a16="http://schemas.microsoft.com/office/drawing/2014/main" id="{21E21598-7F54-4167-ADC4-8AF61EE8886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0" t="21205" b="21205"/>
          <a:stretch/>
        </p:blipFill>
        <p:spPr>
          <a:xfrm>
            <a:off x="5459144" y="1016000"/>
            <a:ext cx="6732856" cy="4832349"/>
          </a:xfrm>
        </p:spPr>
      </p:pic>
      <p:sp>
        <p:nvSpPr>
          <p:cNvPr id="15" name="Titel 14">
            <a:extLst>
              <a:ext uri="{FF2B5EF4-FFF2-40B4-BE49-F238E27FC236}">
                <a16:creationId xmlns:a16="http://schemas.microsoft.com/office/drawing/2014/main" id="{C02B614D-3131-4331-BC16-BED8C08407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38" name="Titel 1">
            <a:extLst>
              <a:ext uri="{FF2B5EF4-FFF2-40B4-BE49-F238E27FC236}">
                <a16:creationId xmlns:a16="http://schemas.microsoft.com/office/drawing/2014/main" id="{C8714415-4C2C-42BC-BC1E-AC41DABCF443}"/>
              </a:ext>
            </a:extLst>
          </p:cNvPr>
          <p:cNvSpPr txBox="1">
            <a:spLocks/>
          </p:cNvSpPr>
          <p:nvPr/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 defTabSz="109609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77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/>
              <a:t>Einleitung</a:t>
            </a:r>
          </a:p>
        </p:txBody>
      </p:sp>
      <p:sp>
        <p:nvSpPr>
          <p:cNvPr id="39" name="textBoxChapter">
            <a:extLst>
              <a:ext uri="{FF2B5EF4-FFF2-40B4-BE49-F238E27FC236}">
                <a16:creationId xmlns:a16="http://schemas.microsoft.com/office/drawing/2014/main" id="{29013047-D6BB-4374-B1FA-4E0CA15DA0FB}"/>
              </a:ext>
            </a:extLst>
          </p:cNvPr>
          <p:cNvSpPr txBox="1"/>
          <p:nvPr/>
        </p:nvSpPr>
        <p:spPr>
          <a:xfrm>
            <a:off x="2609314" y="6454379"/>
            <a:ext cx="6973372" cy="37110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inleitung</a:t>
            </a:r>
            <a:endParaRPr kumimoji="0" lang="de-DE" sz="167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ewsGoth for Porsche Com" panose="020B0506020203020204" pitchFamily="34" charset="0"/>
              <a:ea typeface="+mn-ea"/>
              <a:cs typeface="+mn-cs"/>
            </a:endParaRPr>
          </a:p>
        </p:txBody>
      </p:sp>
      <p:sp>
        <p:nvSpPr>
          <p:cNvPr id="43" name="Rechteck 12">
            <a:extLst>
              <a:ext uri="{FF2B5EF4-FFF2-40B4-BE49-F238E27FC236}">
                <a16:creationId xmlns:a16="http://schemas.microsoft.com/office/drawing/2014/main" id="{AB078D61-6F03-40D3-8B31-C3680FED2E2D}"/>
              </a:ext>
            </a:extLst>
          </p:cNvPr>
          <p:cNvSpPr/>
          <p:nvPr/>
        </p:nvSpPr>
        <p:spPr>
          <a:xfrm rot="6255615">
            <a:off x="1405137" y="3175698"/>
            <a:ext cx="3050358" cy="3136496"/>
          </a:xfrm>
          <a:custGeom>
            <a:avLst/>
            <a:gdLst>
              <a:gd name="connsiteX0" fmla="*/ 0 w 3503596"/>
              <a:gd name="connsiteY0" fmla="*/ 0 h 2850080"/>
              <a:gd name="connsiteX1" fmla="*/ 3503596 w 3503596"/>
              <a:gd name="connsiteY1" fmla="*/ 0 h 2850080"/>
              <a:gd name="connsiteX2" fmla="*/ 3503596 w 3503596"/>
              <a:gd name="connsiteY2" fmla="*/ 2850080 h 2850080"/>
              <a:gd name="connsiteX3" fmla="*/ 0 w 3503596"/>
              <a:gd name="connsiteY3" fmla="*/ 2850080 h 2850080"/>
              <a:gd name="connsiteX4" fmla="*/ 0 w 3503596"/>
              <a:gd name="connsiteY4" fmla="*/ 0 h 2850080"/>
              <a:gd name="connsiteX0" fmla="*/ 0 w 3532471"/>
              <a:gd name="connsiteY0" fmla="*/ 0 h 2850080"/>
              <a:gd name="connsiteX1" fmla="*/ 3532471 w 3532471"/>
              <a:gd name="connsiteY1" fmla="*/ 1953928 h 2850080"/>
              <a:gd name="connsiteX2" fmla="*/ 3503596 w 3532471"/>
              <a:gd name="connsiteY2" fmla="*/ 2850080 h 2850080"/>
              <a:gd name="connsiteX3" fmla="*/ 0 w 3532471"/>
              <a:gd name="connsiteY3" fmla="*/ 2850080 h 2850080"/>
              <a:gd name="connsiteX4" fmla="*/ 0 w 3532471"/>
              <a:gd name="connsiteY4" fmla="*/ 0 h 2850080"/>
              <a:gd name="connsiteX0" fmla="*/ 1155031 w 3532471"/>
              <a:gd name="connsiteY0" fmla="*/ 0 h 2840455"/>
              <a:gd name="connsiteX1" fmla="*/ 3532471 w 3532471"/>
              <a:gd name="connsiteY1" fmla="*/ 1944303 h 2840455"/>
              <a:gd name="connsiteX2" fmla="*/ 3503596 w 3532471"/>
              <a:gd name="connsiteY2" fmla="*/ 2840455 h 2840455"/>
              <a:gd name="connsiteX3" fmla="*/ 0 w 3532471"/>
              <a:gd name="connsiteY3" fmla="*/ 2840455 h 2840455"/>
              <a:gd name="connsiteX4" fmla="*/ 1155031 w 3532471"/>
              <a:gd name="connsiteY4" fmla="*/ 0 h 2840455"/>
              <a:gd name="connsiteX0" fmla="*/ 1164656 w 3542096"/>
              <a:gd name="connsiteY0" fmla="*/ 8623 h 2849078"/>
              <a:gd name="connsiteX1" fmla="*/ 3542096 w 3542096"/>
              <a:gd name="connsiteY1" fmla="*/ 195292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64656 w 3542096"/>
              <a:gd name="connsiteY4" fmla="*/ 8623 h 2849078"/>
              <a:gd name="connsiteX0" fmla="*/ 1164656 w 3542096"/>
              <a:gd name="connsiteY0" fmla="*/ 8623 h 2849078"/>
              <a:gd name="connsiteX1" fmla="*/ 3542096 w 3542096"/>
              <a:gd name="connsiteY1" fmla="*/ 193387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64656 w 3542096"/>
              <a:gd name="connsiteY4" fmla="*/ 8623 h 2849078"/>
              <a:gd name="connsiteX0" fmla="*/ 1177356 w 3542096"/>
              <a:gd name="connsiteY0" fmla="*/ 2273 h 2849078"/>
              <a:gd name="connsiteX1" fmla="*/ 3542096 w 3542096"/>
              <a:gd name="connsiteY1" fmla="*/ 193387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77356 w 3542096"/>
              <a:gd name="connsiteY4" fmla="*/ 2273 h 2849078"/>
              <a:gd name="connsiteX0" fmla="*/ 1202756 w 3567496"/>
              <a:gd name="connsiteY0" fmla="*/ 2273 h 2849078"/>
              <a:gd name="connsiteX1" fmla="*/ 3567496 w 3567496"/>
              <a:gd name="connsiteY1" fmla="*/ 1933876 h 2849078"/>
              <a:gd name="connsiteX2" fmla="*/ 3538621 w 3567496"/>
              <a:gd name="connsiteY2" fmla="*/ 2849078 h 2849078"/>
              <a:gd name="connsiteX3" fmla="*/ 0 w 3567496"/>
              <a:gd name="connsiteY3" fmla="*/ 0 h 2849078"/>
              <a:gd name="connsiteX4" fmla="*/ 1202756 w 3567496"/>
              <a:gd name="connsiteY4" fmla="*/ 2273 h 2849078"/>
              <a:gd name="connsiteX0" fmla="*/ 1202756 w 3579896"/>
              <a:gd name="connsiteY0" fmla="*/ 2273 h 2912578"/>
              <a:gd name="connsiteX1" fmla="*/ 3567496 w 3579896"/>
              <a:gd name="connsiteY1" fmla="*/ 1933876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202756 w 3579896"/>
              <a:gd name="connsiteY4" fmla="*/ 2273 h 2912578"/>
              <a:gd name="connsiteX0" fmla="*/ 1202756 w 3852899"/>
              <a:gd name="connsiteY0" fmla="*/ 2273 h 3018705"/>
              <a:gd name="connsiteX1" fmla="*/ 3567496 w 3852899"/>
              <a:gd name="connsiteY1" fmla="*/ 1933876 h 3018705"/>
              <a:gd name="connsiteX2" fmla="*/ 3852899 w 3852899"/>
              <a:gd name="connsiteY2" fmla="*/ 3018705 h 3018705"/>
              <a:gd name="connsiteX3" fmla="*/ 0 w 3852899"/>
              <a:gd name="connsiteY3" fmla="*/ 0 h 3018705"/>
              <a:gd name="connsiteX4" fmla="*/ 1202756 w 3852899"/>
              <a:gd name="connsiteY4" fmla="*/ 2273 h 3018705"/>
              <a:gd name="connsiteX0" fmla="*/ 897159 w 3852899"/>
              <a:gd name="connsiteY0" fmla="*/ 0 h 3272312"/>
              <a:gd name="connsiteX1" fmla="*/ 3567496 w 3852899"/>
              <a:gd name="connsiteY1" fmla="*/ 2187483 h 3272312"/>
              <a:gd name="connsiteX2" fmla="*/ 3852899 w 3852899"/>
              <a:gd name="connsiteY2" fmla="*/ 3272312 h 3272312"/>
              <a:gd name="connsiteX3" fmla="*/ 0 w 3852899"/>
              <a:gd name="connsiteY3" fmla="*/ 253607 h 3272312"/>
              <a:gd name="connsiteX4" fmla="*/ 897159 w 3852899"/>
              <a:gd name="connsiteY4" fmla="*/ 0 h 3272312"/>
              <a:gd name="connsiteX0" fmla="*/ 290026 w 3245766"/>
              <a:gd name="connsiteY0" fmla="*/ 0 h 3272312"/>
              <a:gd name="connsiteX1" fmla="*/ 2960363 w 3245766"/>
              <a:gd name="connsiteY1" fmla="*/ 2187483 h 3272312"/>
              <a:gd name="connsiteX2" fmla="*/ 3245766 w 3245766"/>
              <a:gd name="connsiteY2" fmla="*/ 3272312 h 3272312"/>
              <a:gd name="connsiteX3" fmla="*/ 0 w 3245766"/>
              <a:gd name="connsiteY3" fmla="*/ 694666 h 3272312"/>
              <a:gd name="connsiteX4" fmla="*/ 290026 w 3245766"/>
              <a:gd name="connsiteY4" fmla="*/ 0 h 3272312"/>
              <a:gd name="connsiteX0" fmla="*/ 232025 w 3187765"/>
              <a:gd name="connsiteY0" fmla="*/ 0 h 3272312"/>
              <a:gd name="connsiteX1" fmla="*/ 2902362 w 3187765"/>
              <a:gd name="connsiteY1" fmla="*/ 2187483 h 3272312"/>
              <a:gd name="connsiteX2" fmla="*/ 3187765 w 3187765"/>
              <a:gd name="connsiteY2" fmla="*/ 3272312 h 3272312"/>
              <a:gd name="connsiteX3" fmla="*/ 0 w 3187765"/>
              <a:gd name="connsiteY3" fmla="*/ 680515 h 3272312"/>
              <a:gd name="connsiteX4" fmla="*/ 232025 w 3187765"/>
              <a:gd name="connsiteY4" fmla="*/ 0 h 3272312"/>
              <a:gd name="connsiteX0" fmla="*/ 239390 w 3195130"/>
              <a:gd name="connsiteY0" fmla="*/ 0 h 3272312"/>
              <a:gd name="connsiteX1" fmla="*/ 2909727 w 3195130"/>
              <a:gd name="connsiteY1" fmla="*/ 2187483 h 3272312"/>
              <a:gd name="connsiteX2" fmla="*/ 3195130 w 3195130"/>
              <a:gd name="connsiteY2" fmla="*/ 3272312 h 3272312"/>
              <a:gd name="connsiteX3" fmla="*/ 0 w 3195130"/>
              <a:gd name="connsiteY3" fmla="*/ 569693 h 3272312"/>
              <a:gd name="connsiteX4" fmla="*/ 239390 w 3195130"/>
              <a:gd name="connsiteY4" fmla="*/ 0 h 3272312"/>
              <a:gd name="connsiteX0" fmla="*/ 242692 w 3195130"/>
              <a:gd name="connsiteY0" fmla="*/ 0 h 3259574"/>
              <a:gd name="connsiteX1" fmla="*/ 2909727 w 3195130"/>
              <a:gd name="connsiteY1" fmla="*/ 2174745 h 3259574"/>
              <a:gd name="connsiteX2" fmla="*/ 3195130 w 3195130"/>
              <a:gd name="connsiteY2" fmla="*/ 3259574 h 3259574"/>
              <a:gd name="connsiteX3" fmla="*/ 0 w 3195130"/>
              <a:gd name="connsiteY3" fmla="*/ 556955 h 3259574"/>
              <a:gd name="connsiteX4" fmla="*/ 242692 w 3195130"/>
              <a:gd name="connsiteY4" fmla="*/ 0 h 3259574"/>
              <a:gd name="connsiteX0" fmla="*/ 281455 w 3233893"/>
              <a:gd name="connsiteY0" fmla="*/ 0 h 3259574"/>
              <a:gd name="connsiteX1" fmla="*/ 2948490 w 3233893"/>
              <a:gd name="connsiteY1" fmla="*/ 2174745 h 3259574"/>
              <a:gd name="connsiteX2" fmla="*/ 3233893 w 3233893"/>
              <a:gd name="connsiteY2" fmla="*/ 3259574 h 3259574"/>
              <a:gd name="connsiteX3" fmla="*/ 0 w 3233893"/>
              <a:gd name="connsiteY3" fmla="*/ 620861 h 3259574"/>
              <a:gd name="connsiteX4" fmla="*/ 281455 w 3233893"/>
              <a:gd name="connsiteY4" fmla="*/ 0 h 3259574"/>
              <a:gd name="connsiteX0" fmla="*/ 281455 w 3233893"/>
              <a:gd name="connsiteY0" fmla="*/ 0 h 3259574"/>
              <a:gd name="connsiteX1" fmla="*/ 2989107 w 3233893"/>
              <a:gd name="connsiteY1" fmla="*/ 2371439 h 3259574"/>
              <a:gd name="connsiteX2" fmla="*/ 3233893 w 3233893"/>
              <a:gd name="connsiteY2" fmla="*/ 3259574 h 3259574"/>
              <a:gd name="connsiteX3" fmla="*/ 0 w 3233893"/>
              <a:gd name="connsiteY3" fmla="*/ 620861 h 3259574"/>
              <a:gd name="connsiteX4" fmla="*/ 281455 w 3233893"/>
              <a:gd name="connsiteY4" fmla="*/ 0 h 3259574"/>
              <a:gd name="connsiteX0" fmla="*/ 281455 w 3233893"/>
              <a:gd name="connsiteY0" fmla="*/ 0 h 3259574"/>
              <a:gd name="connsiteX1" fmla="*/ 2945189 w 3233893"/>
              <a:gd name="connsiteY1" fmla="*/ 2162007 h 3259574"/>
              <a:gd name="connsiteX2" fmla="*/ 3233893 w 3233893"/>
              <a:gd name="connsiteY2" fmla="*/ 3259574 h 3259574"/>
              <a:gd name="connsiteX3" fmla="*/ 0 w 3233893"/>
              <a:gd name="connsiteY3" fmla="*/ 620861 h 3259574"/>
              <a:gd name="connsiteX4" fmla="*/ 281455 w 3233893"/>
              <a:gd name="connsiteY4" fmla="*/ 0 h 3259574"/>
              <a:gd name="connsiteX0" fmla="*/ 281455 w 3164098"/>
              <a:gd name="connsiteY0" fmla="*/ 0 h 3083714"/>
              <a:gd name="connsiteX1" fmla="*/ 2945189 w 3164098"/>
              <a:gd name="connsiteY1" fmla="*/ 2162007 h 3083714"/>
              <a:gd name="connsiteX2" fmla="*/ 3164097 w 3164098"/>
              <a:gd name="connsiteY2" fmla="*/ 3083714 h 3083714"/>
              <a:gd name="connsiteX3" fmla="*/ 0 w 3164098"/>
              <a:gd name="connsiteY3" fmla="*/ 620861 h 3083714"/>
              <a:gd name="connsiteX4" fmla="*/ 281455 w 3164098"/>
              <a:gd name="connsiteY4" fmla="*/ 0 h 3083714"/>
              <a:gd name="connsiteX0" fmla="*/ 281455 w 3220019"/>
              <a:gd name="connsiteY0" fmla="*/ 0 h 3246079"/>
              <a:gd name="connsiteX1" fmla="*/ 2945189 w 3220019"/>
              <a:gd name="connsiteY1" fmla="*/ 2162007 h 3246079"/>
              <a:gd name="connsiteX2" fmla="*/ 3220020 w 3220019"/>
              <a:gd name="connsiteY2" fmla="*/ 3246079 h 3246079"/>
              <a:gd name="connsiteX3" fmla="*/ 0 w 3220019"/>
              <a:gd name="connsiteY3" fmla="*/ 620861 h 3246079"/>
              <a:gd name="connsiteX4" fmla="*/ 281455 w 3220019"/>
              <a:gd name="connsiteY4" fmla="*/ 0 h 3246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20019" h="3246079">
                <a:moveTo>
                  <a:pt x="281455" y="0"/>
                </a:moveTo>
                <a:lnTo>
                  <a:pt x="2945189" y="2162007"/>
                </a:lnTo>
                <a:lnTo>
                  <a:pt x="3220020" y="3246079"/>
                </a:lnTo>
                <a:lnTo>
                  <a:pt x="0" y="620861"/>
                </a:lnTo>
                <a:lnTo>
                  <a:pt x="281455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err="1">
              <a:solidFill>
                <a:schemeClr val="tx1"/>
              </a:solidFill>
            </a:endParaRPr>
          </a:p>
        </p:txBody>
      </p:sp>
      <p:sp>
        <p:nvSpPr>
          <p:cNvPr id="44" name="Rechteck 12">
            <a:extLst>
              <a:ext uri="{FF2B5EF4-FFF2-40B4-BE49-F238E27FC236}">
                <a16:creationId xmlns:a16="http://schemas.microsoft.com/office/drawing/2014/main" id="{B0FADD83-ADE4-45E2-BA93-80BF8CA85162}"/>
              </a:ext>
            </a:extLst>
          </p:cNvPr>
          <p:cNvSpPr/>
          <p:nvPr/>
        </p:nvSpPr>
        <p:spPr>
          <a:xfrm rot="8117421">
            <a:off x="2176135" y="2922400"/>
            <a:ext cx="1659343" cy="1639382"/>
          </a:xfrm>
          <a:custGeom>
            <a:avLst/>
            <a:gdLst>
              <a:gd name="connsiteX0" fmla="*/ 0 w 3503596"/>
              <a:gd name="connsiteY0" fmla="*/ 0 h 2850080"/>
              <a:gd name="connsiteX1" fmla="*/ 3503596 w 3503596"/>
              <a:gd name="connsiteY1" fmla="*/ 0 h 2850080"/>
              <a:gd name="connsiteX2" fmla="*/ 3503596 w 3503596"/>
              <a:gd name="connsiteY2" fmla="*/ 2850080 h 2850080"/>
              <a:gd name="connsiteX3" fmla="*/ 0 w 3503596"/>
              <a:gd name="connsiteY3" fmla="*/ 2850080 h 2850080"/>
              <a:gd name="connsiteX4" fmla="*/ 0 w 3503596"/>
              <a:gd name="connsiteY4" fmla="*/ 0 h 2850080"/>
              <a:gd name="connsiteX0" fmla="*/ 0 w 3532471"/>
              <a:gd name="connsiteY0" fmla="*/ 0 h 2850080"/>
              <a:gd name="connsiteX1" fmla="*/ 3532471 w 3532471"/>
              <a:gd name="connsiteY1" fmla="*/ 1953928 h 2850080"/>
              <a:gd name="connsiteX2" fmla="*/ 3503596 w 3532471"/>
              <a:gd name="connsiteY2" fmla="*/ 2850080 h 2850080"/>
              <a:gd name="connsiteX3" fmla="*/ 0 w 3532471"/>
              <a:gd name="connsiteY3" fmla="*/ 2850080 h 2850080"/>
              <a:gd name="connsiteX4" fmla="*/ 0 w 3532471"/>
              <a:gd name="connsiteY4" fmla="*/ 0 h 2850080"/>
              <a:gd name="connsiteX0" fmla="*/ 1155031 w 3532471"/>
              <a:gd name="connsiteY0" fmla="*/ 0 h 2840455"/>
              <a:gd name="connsiteX1" fmla="*/ 3532471 w 3532471"/>
              <a:gd name="connsiteY1" fmla="*/ 1944303 h 2840455"/>
              <a:gd name="connsiteX2" fmla="*/ 3503596 w 3532471"/>
              <a:gd name="connsiteY2" fmla="*/ 2840455 h 2840455"/>
              <a:gd name="connsiteX3" fmla="*/ 0 w 3532471"/>
              <a:gd name="connsiteY3" fmla="*/ 2840455 h 2840455"/>
              <a:gd name="connsiteX4" fmla="*/ 1155031 w 3532471"/>
              <a:gd name="connsiteY4" fmla="*/ 0 h 2840455"/>
              <a:gd name="connsiteX0" fmla="*/ 1164656 w 3542096"/>
              <a:gd name="connsiteY0" fmla="*/ 8623 h 2849078"/>
              <a:gd name="connsiteX1" fmla="*/ 3542096 w 3542096"/>
              <a:gd name="connsiteY1" fmla="*/ 195292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64656 w 3542096"/>
              <a:gd name="connsiteY4" fmla="*/ 8623 h 2849078"/>
              <a:gd name="connsiteX0" fmla="*/ 1164656 w 3542096"/>
              <a:gd name="connsiteY0" fmla="*/ 8623 h 2849078"/>
              <a:gd name="connsiteX1" fmla="*/ 3542096 w 3542096"/>
              <a:gd name="connsiteY1" fmla="*/ 193387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64656 w 3542096"/>
              <a:gd name="connsiteY4" fmla="*/ 8623 h 2849078"/>
              <a:gd name="connsiteX0" fmla="*/ 1177356 w 3542096"/>
              <a:gd name="connsiteY0" fmla="*/ 2273 h 2849078"/>
              <a:gd name="connsiteX1" fmla="*/ 3542096 w 3542096"/>
              <a:gd name="connsiteY1" fmla="*/ 193387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77356 w 3542096"/>
              <a:gd name="connsiteY4" fmla="*/ 2273 h 2849078"/>
              <a:gd name="connsiteX0" fmla="*/ 1202756 w 3567496"/>
              <a:gd name="connsiteY0" fmla="*/ 2273 h 2849078"/>
              <a:gd name="connsiteX1" fmla="*/ 3567496 w 3567496"/>
              <a:gd name="connsiteY1" fmla="*/ 1933876 h 2849078"/>
              <a:gd name="connsiteX2" fmla="*/ 3538621 w 3567496"/>
              <a:gd name="connsiteY2" fmla="*/ 2849078 h 2849078"/>
              <a:gd name="connsiteX3" fmla="*/ 0 w 3567496"/>
              <a:gd name="connsiteY3" fmla="*/ 0 h 2849078"/>
              <a:gd name="connsiteX4" fmla="*/ 1202756 w 3567496"/>
              <a:gd name="connsiteY4" fmla="*/ 2273 h 2849078"/>
              <a:gd name="connsiteX0" fmla="*/ 1202756 w 3579896"/>
              <a:gd name="connsiteY0" fmla="*/ 2273 h 2912578"/>
              <a:gd name="connsiteX1" fmla="*/ 3567496 w 3579896"/>
              <a:gd name="connsiteY1" fmla="*/ 1933876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202756 w 3579896"/>
              <a:gd name="connsiteY4" fmla="*/ 2273 h 2912578"/>
              <a:gd name="connsiteX0" fmla="*/ 1232978 w 3579896"/>
              <a:gd name="connsiteY0" fmla="*/ 46380 h 2912578"/>
              <a:gd name="connsiteX1" fmla="*/ 3567496 w 3579896"/>
              <a:gd name="connsiteY1" fmla="*/ 1933876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232978 w 3579896"/>
              <a:gd name="connsiteY4" fmla="*/ 46380 h 2912578"/>
              <a:gd name="connsiteX0" fmla="*/ 1383249 w 3579896"/>
              <a:gd name="connsiteY0" fmla="*/ 129300 h 2912578"/>
              <a:gd name="connsiteX1" fmla="*/ 3567496 w 3579896"/>
              <a:gd name="connsiteY1" fmla="*/ 1933876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383249 w 3579896"/>
              <a:gd name="connsiteY4" fmla="*/ 129300 h 2912578"/>
              <a:gd name="connsiteX0" fmla="*/ 1383249 w 3579896"/>
              <a:gd name="connsiteY0" fmla="*/ 129300 h 2912578"/>
              <a:gd name="connsiteX1" fmla="*/ 3423001 w 3579896"/>
              <a:gd name="connsiteY1" fmla="*/ 1816535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383249 w 3579896"/>
              <a:gd name="connsiteY4" fmla="*/ 129300 h 2912578"/>
              <a:gd name="connsiteX0" fmla="*/ 1383249 w 3579896"/>
              <a:gd name="connsiteY0" fmla="*/ 129300 h 2912578"/>
              <a:gd name="connsiteX1" fmla="*/ 3434980 w 3579896"/>
              <a:gd name="connsiteY1" fmla="*/ 1816485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383249 w 3579896"/>
              <a:gd name="connsiteY4" fmla="*/ 129300 h 2912578"/>
              <a:gd name="connsiteX0" fmla="*/ 1425636 w 3579896"/>
              <a:gd name="connsiteY0" fmla="*/ 202841 h 2912578"/>
              <a:gd name="connsiteX1" fmla="*/ 3434980 w 3579896"/>
              <a:gd name="connsiteY1" fmla="*/ 1816485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425636 w 3579896"/>
              <a:gd name="connsiteY4" fmla="*/ 202841 h 2912578"/>
              <a:gd name="connsiteX0" fmla="*/ 1383315 w 3579896"/>
              <a:gd name="connsiteY0" fmla="*/ 139132 h 2912578"/>
              <a:gd name="connsiteX1" fmla="*/ 3434980 w 3579896"/>
              <a:gd name="connsiteY1" fmla="*/ 1816485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383315 w 3579896"/>
              <a:gd name="connsiteY4" fmla="*/ 139132 h 2912578"/>
              <a:gd name="connsiteX0" fmla="*/ 1191507 w 3388088"/>
              <a:gd name="connsiteY0" fmla="*/ 120275 h 2893721"/>
              <a:gd name="connsiteX1" fmla="*/ 3243172 w 3388088"/>
              <a:gd name="connsiteY1" fmla="*/ 1797628 h 2893721"/>
              <a:gd name="connsiteX2" fmla="*/ 3388088 w 3388088"/>
              <a:gd name="connsiteY2" fmla="*/ 2893721 h 2893721"/>
              <a:gd name="connsiteX3" fmla="*/ 1 w 3388088"/>
              <a:gd name="connsiteY3" fmla="*/ 1 h 2893721"/>
              <a:gd name="connsiteX4" fmla="*/ 1191507 w 3388088"/>
              <a:gd name="connsiteY4" fmla="*/ 120275 h 2893721"/>
              <a:gd name="connsiteX0" fmla="*/ 1401381 w 3597962"/>
              <a:gd name="connsiteY0" fmla="*/ 153801 h 2927247"/>
              <a:gd name="connsiteX1" fmla="*/ 3453046 w 3597962"/>
              <a:gd name="connsiteY1" fmla="*/ 1831154 h 2927247"/>
              <a:gd name="connsiteX2" fmla="*/ 3597962 w 3597962"/>
              <a:gd name="connsiteY2" fmla="*/ 2927247 h 2927247"/>
              <a:gd name="connsiteX3" fmla="*/ 2 w 3597962"/>
              <a:gd name="connsiteY3" fmla="*/ -1 h 2927247"/>
              <a:gd name="connsiteX4" fmla="*/ 1401381 w 3597962"/>
              <a:gd name="connsiteY4" fmla="*/ 153801 h 2927247"/>
              <a:gd name="connsiteX0" fmla="*/ 1413299 w 3609880"/>
              <a:gd name="connsiteY0" fmla="*/ 143921 h 2917367"/>
              <a:gd name="connsiteX1" fmla="*/ 3464964 w 3609880"/>
              <a:gd name="connsiteY1" fmla="*/ 1821274 h 2917367"/>
              <a:gd name="connsiteX2" fmla="*/ 3609880 w 3609880"/>
              <a:gd name="connsiteY2" fmla="*/ 2917367 h 2917367"/>
              <a:gd name="connsiteX3" fmla="*/ 0 w 3609880"/>
              <a:gd name="connsiteY3" fmla="*/ -1 h 2917367"/>
              <a:gd name="connsiteX4" fmla="*/ 1413299 w 3609880"/>
              <a:gd name="connsiteY4" fmla="*/ 143921 h 2917367"/>
              <a:gd name="connsiteX0" fmla="*/ 1395236 w 3609880"/>
              <a:gd name="connsiteY0" fmla="*/ 129252 h 2917367"/>
              <a:gd name="connsiteX1" fmla="*/ 3464964 w 3609880"/>
              <a:gd name="connsiteY1" fmla="*/ 1821274 h 2917367"/>
              <a:gd name="connsiteX2" fmla="*/ 3609880 w 3609880"/>
              <a:gd name="connsiteY2" fmla="*/ 2917367 h 2917367"/>
              <a:gd name="connsiteX3" fmla="*/ 0 w 3609880"/>
              <a:gd name="connsiteY3" fmla="*/ -1 h 2917367"/>
              <a:gd name="connsiteX4" fmla="*/ 1395236 w 3609880"/>
              <a:gd name="connsiteY4" fmla="*/ 129252 h 2917367"/>
              <a:gd name="connsiteX0" fmla="*/ 1413294 w 3627938"/>
              <a:gd name="connsiteY0" fmla="*/ 143918 h 2932033"/>
              <a:gd name="connsiteX1" fmla="*/ 3483022 w 3627938"/>
              <a:gd name="connsiteY1" fmla="*/ 1835940 h 2932033"/>
              <a:gd name="connsiteX2" fmla="*/ 3627938 w 3627938"/>
              <a:gd name="connsiteY2" fmla="*/ 2932033 h 2932033"/>
              <a:gd name="connsiteX3" fmla="*/ 0 w 3627938"/>
              <a:gd name="connsiteY3" fmla="*/ -1 h 2932033"/>
              <a:gd name="connsiteX4" fmla="*/ 1413294 w 3627938"/>
              <a:gd name="connsiteY4" fmla="*/ 143918 h 2932033"/>
              <a:gd name="connsiteX0" fmla="*/ 1413294 w 4505147"/>
              <a:gd name="connsiteY0" fmla="*/ 143918 h 3570188"/>
              <a:gd name="connsiteX1" fmla="*/ 3483022 w 4505147"/>
              <a:gd name="connsiteY1" fmla="*/ 1835940 h 3570188"/>
              <a:gd name="connsiteX2" fmla="*/ 4505147 w 4505147"/>
              <a:gd name="connsiteY2" fmla="*/ 3570187 h 3570188"/>
              <a:gd name="connsiteX3" fmla="*/ 0 w 4505147"/>
              <a:gd name="connsiteY3" fmla="*/ -1 h 3570188"/>
              <a:gd name="connsiteX4" fmla="*/ 1413294 w 4505147"/>
              <a:gd name="connsiteY4" fmla="*/ 143918 h 3570188"/>
              <a:gd name="connsiteX0" fmla="*/ 1413294 w 4505147"/>
              <a:gd name="connsiteY0" fmla="*/ 143918 h 3570188"/>
              <a:gd name="connsiteX1" fmla="*/ 4403248 w 4505147"/>
              <a:gd name="connsiteY1" fmla="*/ 2770942 h 3570188"/>
              <a:gd name="connsiteX2" fmla="*/ 4505147 w 4505147"/>
              <a:gd name="connsiteY2" fmla="*/ 3570187 h 3570188"/>
              <a:gd name="connsiteX3" fmla="*/ 0 w 4505147"/>
              <a:gd name="connsiteY3" fmla="*/ -1 h 3570188"/>
              <a:gd name="connsiteX4" fmla="*/ 1413294 w 4505147"/>
              <a:gd name="connsiteY4" fmla="*/ 143918 h 3570188"/>
              <a:gd name="connsiteX0" fmla="*/ 1268490 w 4505147"/>
              <a:gd name="connsiteY0" fmla="*/ 379192 h 3570188"/>
              <a:gd name="connsiteX1" fmla="*/ 4403248 w 4505147"/>
              <a:gd name="connsiteY1" fmla="*/ 2770942 h 3570188"/>
              <a:gd name="connsiteX2" fmla="*/ 4505147 w 4505147"/>
              <a:gd name="connsiteY2" fmla="*/ 3570187 h 3570188"/>
              <a:gd name="connsiteX3" fmla="*/ 0 w 4505147"/>
              <a:gd name="connsiteY3" fmla="*/ -1 h 3570188"/>
              <a:gd name="connsiteX4" fmla="*/ 1268490 w 4505147"/>
              <a:gd name="connsiteY4" fmla="*/ 379192 h 3570188"/>
              <a:gd name="connsiteX0" fmla="*/ 1079461 w 4505147"/>
              <a:gd name="connsiteY0" fmla="*/ 126942 h 3570188"/>
              <a:gd name="connsiteX1" fmla="*/ 4403248 w 4505147"/>
              <a:gd name="connsiteY1" fmla="*/ 2770942 h 3570188"/>
              <a:gd name="connsiteX2" fmla="*/ 4505147 w 4505147"/>
              <a:gd name="connsiteY2" fmla="*/ 3570187 h 3570188"/>
              <a:gd name="connsiteX3" fmla="*/ 0 w 4505147"/>
              <a:gd name="connsiteY3" fmla="*/ -1 h 3570188"/>
              <a:gd name="connsiteX4" fmla="*/ 1079461 w 4505147"/>
              <a:gd name="connsiteY4" fmla="*/ 126942 h 3570188"/>
              <a:gd name="connsiteX0" fmla="*/ 1079461 w 4505147"/>
              <a:gd name="connsiteY0" fmla="*/ 126942 h 3570188"/>
              <a:gd name="connsiteX1" fmla="*/ 4407746 w 4505147"/>
              <a:gd name="connsiteY1" fmla="*/ 2759921 h 3570188"/>
              <a:gd name="connsiteX2" fmla="*/ 4505147 w 4505147"/>
              <a:gd name="connsiteY2" fmla="*/ 3570187 h 3570188"/>
              <a:gd name="connsiteX3" fmla="*/ 0 w 4505147"/>
              <a:gd name="connsiteY3" fmla="*/ -1 h 3570188"/>
              <a:gd name="connsiteX4" fmla="*/ 1079461 w 4505147"/>
              <a:gd name="connsiteY4" fmla="*/ 126942 h 3570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05147" h="3570188">
                <a:moveTo>
                  <a:pt x="1079461" y="126942"/>
                </a:moveTo>
                <a:lnTo>
                  <a:pt x="4407746" y="2759921"/>
                </a:lnTo>
                <a:lnTo>
                  <a:pt x="4505147" y="3570187"/>
                </a:lnTo>
                <a:lnTo>
                  <a:pt x="0" y="-1"/>
                </a:lnTo>
                <a:lnTo>
                  <a:pt x="1079461" y="126942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err="1">
              <a:solidFill>
                <a:schemeClr val="tx1"/>
              </a:solidFill>
            </a:endParaRPr>
          </a:p>
        </p:txBody>
      </p:sp>
      <p:sp>
        <p:nvSpPr>
          <p:cNvPr id="45" name="Rechteck 12">
            <a:extLst>
              <a:ext uri="{FF2B5EF4-FFF2-40B4-BE49-F238E27FC236}">
                <a16:creationId xmlns:a16="http://schemas.microsoft.com/office/drawing/2014/main" id="{06536527-EA10-4C9D-8AB9-311350EE04F2}"/>
              </a:ext>
            </a:extLst>
          </p:cNvPr>
          <p:cNvSpPr/>
          <p:nvPr/>
        </p:nvSpPr>
        <p:spPr>
          <a:xfrm rot="17130543">
            <a:off x="1223960" y="569615"/>
            <a:ext cx="3217746" cy="3153401"/>
          </a:xfrm>
          <a:custGeom>
            <a:avLst/>
            <a:gdLst>
              <a:gd name="connsiteX0" fmla="*/ 0 w 3503596"/>
              <a:gd name="connsiteY0" fmla="*/ 0 h 2850080"/>
              <a:gd name="connsiteX1" fmla="*/ 3503596 w 3503596"/>
              <a:gd name="connsiteY1" fmla="*/ 0 h 2850080"/>
              <a:gd name="connsiteX2" fmla="*/ 3503596 w 3503596"/>
              <a:gd name="connsiteY2" fmla="*/ 2850080 h 2850080"/>
              <a:gd name="connsiteX3" fmla="*/ 0 w 3503596"/>
              <a:gd name="connsiteY3" fmla="*/ 2850080 h 2850080"/>
              <a:gd name="connsiteX4" fmla="*/ 0 w 3503596"/>
              <a:gd name="connsiteY4" fmla="*/ 0 h 2850080"/>
              <a:gd name="connsiteX0" fmla="*/ 0 w 3532471"/>
              <a:gd name="connsiteY0" fmla="*/ 0 h 2850080"/>
              <a:gd name="connsiteX1" fmla="*/ 3532471 w 3532471"/>
              <a:gd name="connsiteY1" fmla="*/ 1953928 h 2850080"/>
              <a:gd name="connsiteX2" fmla="*/ 3503596 w 3532471"/>
              <a:gd name="connsiteY2" fmla="*/ 2850080 h 2850080"/>
              <a:gd name="connsiteX3" fmla="*/ 0 w 3532471"/>
              <a:gd name="connsiteY3" fmla="*/ 2850080 h 2850080"/>
              <a:gd name="connsiteX4" fmla="*/ 0 w 3532471"/>
              <a:gd name="connsiteY4" fmla="*/ 0 h 2850080"/>
              <a:gd name="connsiteX0" fmla="*/ 1155031 w 3532471"/>
              <a:gd name="connsiteY0" fmla="*/ 0 h 2840455"/>
              <a:gd name="connsiteX1" fmla="*/ 3532471 w 3532471"/>
              <a:gd name="connsiteY1" fmla="*/ 1944303 h 2840455"/>
              <a:gd name="connsiteX2" fmla="*/ 3503596 w 3532471"/>
              <a:gd name="connsiteY2" fmla="*/ 2840455 h 2840455"/>
              <a:gd name="connsiteX3" fmla="*/ 0 w 3532471"/>
              <a:gd name="connsiteY3" fmla="*/ 2840455 h 2840455"/>
              <a:gd name="connsiteX4" fmla="*/ 1155031 w 3532471"/>
              <a:gd name="connsiteY4" fmla="*/ 0 h 2840455"/>
              <a:gd name="connsiteX0" fmla="*/ 1164656 w 3542096"/>
              <a:gd name="connsiteY0" fmla="*/ 8623 h 2849078"/>
              <a:gd name="connsiteX1" fmla="*/ 3542096 w 3542096"/>
              <a:gd name="connsiteY1" fmla="*/ 195292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64656 w 3542096"/>
              <a:gd name="connsiteY4" fmla="*/ 8623 h 2849078"/>
              <a:gd name="connsiteX0" fmla="*/ 1164656 w 3542096"/>
              <a:gd name="connsiteY0" fmla="*/ 8623 h 2849078"/>
              <a:gd name="connsiteX1" fmla="*/ 3542096 w 3542096"/>
              <a:gd name="connsiteY1" fmla="*/ 193387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64656 w 3542096"/>
              <a:gd name="connsiteY4" fmla="*/ 8623 h 2849078"/>
              <a:gd name="connsiteX0" fmla="*/ 1177356 w 3542096"/>
              <a:gd name="connsiteY0" fmla="*/ 2273 h 2849078"/>
              <a:gd name="connsiteX1" fmla="*/ 3542096 w 3542096"/>
              <a:gd name="connsiteY1" fmla="*/ 193387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77356 w 3542096"/>
              <a:gd name="connsiteY4" fmla="*/ 2273 h 2849078"/>
              <a:gd name="connsiteX0" fmla="*/ 1202756 w 3567496"/>
              <a:gd name="connsiteY0" fmla="*/ 2273 h 2849078"/>
              <a:gd name="connsiteX1" fmla="*/ 3567496 w 3567496"/>
              <a:gd name="connsiteY1" fmla="*/ 1933876 h 2849078"/>
              <a:gd name="connsiteX2" fmla="*/ 3538621 w 3567496"/>
              <a:gd name="connsiteY2" fmla="*/ 2849078 h 2849078"/>
              <a:gd name="connsiteX3" fmla="*/ 0 w 3567496"/>
              <a:gd name="connsiteY3" fmla="*/ 0 h 2849078"/>
              <a:gd name="connsiteX4" fmla="*/ 1202756 w 3567496"/>
              <a:gd name="connsiteY4" fmla="*/ 2273 h 2849078"/>
              <a:gd name="connsiteX0" fmla="*/ 1202756 w 3579896"/>
              <a:gd name="connsiteY0" fmla="*/ 2273 h 2912578"/>
              <a:gd name="connsiteX1" fmla="*/ 3567496 w 3579896"/>
              <a:gd name="connsiteY1" fmla="*/ 1933876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202756 w 3579896"/>
              <a:gd name="connsiteY4" fmla="*/ 2273 h 2912578"/>
              <a:gd name="connsiteX0" fmla="*/ 1202756 w 3852899"/>
              <a:gd name="connsiteY0" fmla="*/ 2273 h 3018705"/>
              <a:gd name="connsiteX1" fmla="*/ 3567496 w 3852899"/>
              <a:gd name="connsiteY1" fmla="*/ 1933876 h 3018705"/>
              <a:gd name="connsiteX2" fmla="*/ 3852899 w 3852899"/>
              <a:gd name="connsiteY2" fmla="*/ 3018705 h 3018705"/>
              <a:gd name="connsiteX3" fmla="*/ 0 w 3852899"/>
              <a:gd name="connsiteY3" fmla="*/ 0 h 3018705"/>
              <a:gd name="connsiteX4" fmla="*/ 1202756 w 3852899"/>
              <a:gd name="connsiteY4" fmla="*/ 2273 h 3018705"/>
              <a:gd name="connsiteX0" fmla="*/ 897159 w 3852899"/>
              <a:gd name="connsiteY0" fmla="*/ 0 h 3272312"/>
              <a:gd name="connsiteX1" fmla="*/ 3567496 w 3852899"/>
              <a:gd name="connsiteY1" fmla="*/ 2187483 h 3272312"/>
              <a:gd name="connsiteX2" fmla="*/ 3852899 w 3852899"/>
              <a:gd name="connsiteY2" fmla="*/ 3272312 h 3272312"/>
              <a:gd name="connsiteX3" fmla="*/ 0 w 3852899"/>
              <a:gd name="connsiteY3" fmla="*/ 253607 h 3272312"/>
              <a:gd name="connsiteX4" fmla="*/ 897159 w 3852899"/>
              <a:gd name="connsiteY4" fmla="*/ 0 h 3272312"/>
              <a:gd name="connsiteX0" fmla="*/ 290026 w 3245766"/>
              <a:gd name="connsiteY0" fmla="*/ 0 h 3272312"/>
              <a:gd name="connsiteX1" fmla="*/ 2960363 w 3245766"/>
              <a:gd name="connsiteY1" fmla="*/ 2187483 h 3272312"/>
              <a:gd name="connsiteX2" fmla="*/ 3245766 w 3245766"/>
              <a:gd name="connsiteY2" fmla="*/ 3272312 h 3272312"/>
              <a:gd name="connsiteX3" fmla="*/ 0 w 3245766"/>
              <a:gd name="connsiteY3" fmla="*/ 694666 h 3272312"/>
              <a:gd name="connsiteX4" fmla="*/ 290026 w 3245766"/>
              <a:gd name="connsiteY4" fmla="*/ 0 h 3272312"/>
              <a:gd name="connsiteX0" fmla="*/ 232025 w 3187765"/>
              <a:gd name="connsiteY0" fmla="*/ 0 h 3272312"/>
              <a:gd name="connsiteX1" fmla="*/ 2902362 w 3187765"/>
              <a:gd name="connsiteY1" fmla="*/ 2187483 h 3272312"/>
              <a:gd name="connsiteX2" fmla="*/ 3187765 w 3187765"/>
              <a:gd name="connsiteY2" fmla="*/ 3272312 h 3272312"/>
              <a:gd name="connsiteX3" fmla="*/ 0 w 3187765"/>
              <a:gd name="connsiteY3" fmla="*/ 680515 h 3272312"/>
              <a:gd name="connsiteX4" fmla="*/ 232025 w 3187765"/>
              <a:gd name="connsiteY4" fmla="*/ 0 h 3272312"/>
              <a:gd name="connsiteX0" fmla="*/ 239390 w 3195130"/>
              <a:gd name="connsiteY0" fmla="*/ 0 h 3272312"/>
              <a:gd name="connsiteX1" fmla="*/ 2909727 w 3195130"/>
              <a:gd name="connsiteY1" fmla="*/ 2187483 h 3272312"/>
              <a:gd name="connsiteX2" fmla="*/ 3195130 w 3195130"/>
              <a:gd name="connsiteY2" fmla="*/ 3272312 h 3272312"/>
              <a:gd name="connsiteX3" fmla="*/ 0 w 3195130"/>
              <a:gd name="connsiteY3" fmla="*/ 569693 h 3272312"/>
              <a:gd name="connsiteX4" fmla="*/ 239390 w 3195130"/>
              <a:gd name="connsiteY4" fmla="*/ 0 h 3272312"/>
              <a:gd name="connsiteX0" fmla="*/ 262006 w 3217746"/>
              <a:gd name="connsiteY0" fmla="*/ 0 h 3272312"/>
              <a:gd name="connsiteX1" fmla="*/ 2932343 w 3217746"/>
              <a:gd name="connsiteY1" fmla="*/ 2187483 h 3272312"/>
              <a:gd name="connsiteX2" fmla="*/ 3217746 w 3217746"/>
              <a:gd name="connsiteY2" fmla="*/ 3272312 h 3272312"/>
              <a:gd name="connsiteX3" fmla="*/ 0 w 3217746"/>
              <a:gd name="connsiteY3" fmla="*/ 620705 h 3272312"/>
              <a:gd name="connsiteX4" fmla="*/ 262006 w 3217746"/>
              <a:gd name="connsiteY4" fmla="*/ 0 h 3272312"/>
              <a:gd name="connsiteX0" fmla="*/ 261158 w 3217746"/>
              <a:gd name="connsiteY0" fmla="*/ 0 h 3275489"/>
              <a:gd name="connsiteX1" fmla="*/ 2932343 w 3217746"/>
              <a:gd name="connsiteY1" fmla="*/ 2190660 h 3275489"/>
              <a:gd name="connsiteX2" fmla="*/ 3217746 w 3217746"/>
              <a:gd name="connsiteY2" fmla="*/ 3275489 h 3275489"/>
              <a:gd name="connsiteX3" fmla="*/ 0 w 3217746"/>
              <a:gd name="connsiteY3" fmla="*/ 623882 h 3275489"/>
              <a:gd name="connsiteX4" fmla="*/ 261158 w 3217746"/>
              <a:gd name="connsiteY4" fmla="*/ 0 h 3275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17746" h="3275489">
                <a:moveTo>
                  <a:pt x="261158" y="0"/>
                </a:moveTo>
                <a:lnTo>
                  <a:pt x="2932343" y="2190660"/>
                </a:lnTo>
                <a:lnTo>
                  <a:pt x="3217746" y="3275489"/>
                </a:lnTo>
                <a:lnTo>
                  <a:pt x="0" y="623882"/>
                </a:lnTo>
                <a:lnTo>
                  <a:pt x="261158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err="1">
              <a:solidFill>
                <a:schemeClr val="tx1"/>
              </a:solidFill>
            </a:endParaRPr>
          </a:p>
        </p:txBody>
      </p:sp>
      <p:sp>
        <p:nvSpPr>
          <p:cNvPr id="46" name="Rechteck 12">
            <a:extLst>
              <a:ext uri="{FF2B5EF4-FFF2-40B4-BE49-F238E27FC236}">
                <a16:creationId xmlns:a16="http://schemas.microsoft.com/office/drawing/2014/main" id="{46BB0D0B-CAEF-4541-A8D9-F9DB5C4D71E8}"/>
              </a:ext>
            </a:extLst>
          </p:cNvPr>
          <p:cNvSpPr/>
          <p:nvPr/>
        </p:nvSpPr>
        <p:spPr>
          <a:xfrm>
            <a:off x="1177758" y="1010653"/>
            <a:ext cx="3579896" cy="2912578"/>
          </a:xfrm>
          <a:custGeom>
            <a:avLst/>
            <a:gdLst>
              <a:gd name="connsiteX0" fmla="*/ 0 w 3503596"/>
              <a:gd name="connsiteY0" fmla="*/ 0 h 2850080"/>
              <a:gd name="connsiteX1" fmla="*/ 3503596 w 3503596"/>
              <a:gd name="connsiteY1" fmla="*/ 0 h 2850080"/>
              <a:gd name="connsiteX2" fmla="*/ 3503596 w 3503596"/>
              <a:gd name="connsiteY2" fmla="*/ 2850080 h 2850080"/>
              <a:gd name="connsiteX3" fmla="*/ 0 w 3503596"/>
              <a:gd name="connsiteY3" fmla="*/ 2850080 h 2850080"/>
              <a:gd name="connsiteX4" fmla="*/ 0 w 3503596"/>
              <a:gd name="connsiteY4" fmla="*/ 0 h 2850080"/>
              <a:gd name="connsiteX0" fmla="*/ 0 w 3532471"/>
              <a:gd name="connsiteY0" fmla="*/ 0 h 2850080"/>
              <a:gd name="connsiteX1" fmla="*/ 3532471 w 3532471"/>
              <a:gd name="connsiteY1" fmla="*/ 1953928 h 2850080"/>
              <a:gd name="connsiteX2" fmla="*/ 3503596 w 3532471"/>
              <a:gd name="connsiteY2" fmla="*/ 2850080 h 2850080"/>
              <a:gd name="connsiteX3" fmla="*/ 0 w 3532471"/>
              <a:gd name="connsiteY3" fmla="*/ 2850080 h 2850080"/>
              <a:gd name="connsiteX4" fmla="*/ 0 w 3532471"/>
              <a:gd name="connsiteY4" fmla="*/ 0 h 2850080"/>
              <a:gd name="connsiteX0" fmla="*/ 1155031 w 3532471"/>
              <a:gd name="connsiteY0" fmla="*/ 0 h 2840455"/>
              <a:gd name="connsiteX1" fmla="*/ 3532471 w 3532471"/>
              <a:gd name="connsiteY1" fmla="*/ 1944303 h 2840455"/>
              <a:gd name="connsiteX2" fmla="*/ 3503596 w 3532471"/>
              <a:gd name="connsiteY2" fmla="*/ 2840455 h 2840455"/>
              <a:gd name="connsiteX3" fmla="*/ 0 w 3532471"/>
              <a:gd name="connsiteY3" fmla="*/ 2840455 h 2840455"/>
              <a:gd name="connsiteX4" fmla="*/ 1155031 w 3532471"/>
              <a:gd name="connsiteY4" fmla="*/ 0 h 2840455"/>
              <a:gd name="connsiteX0" fmla="*/ 1164656 w 3542096"/>
              <a:gd name="connsiteY0" fmla="*/ 8623 h 2849078"/>
              <a:gd name="connsiteX1" fmla="*/ 3542096 w 3542096"/>
              <a:gd name="connsiteY1" fmla="*/ 195292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64656 w 3542096"/>
              <a:gd name="connsiteY4" fmla="*/ 8623 h 2849078"/>
              <a:gd name="connsiteX0" fmla="*/ 1164656 w 3542096"/>
              <a:gd name="connsiteY0" fmla="*/ 8623 h 2849078"/>
              <a:gd name="connsiteX1" fmla="*/ 3542096 w 3542096"/>
              <a:gd name="connsiteY1" fmla="*/ 193387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64656 w 3542096"/>
              <a:gd name="connsiteY4" fmla="*/ 8623 h 2849078"/>
              <a:gd name="connsiteX0" fmla="*/ 1177356 w 3542096"/>
              <a:gd name="connsiteY0" fmla="*/ 2273 h 2849078"/>
              <a:gd name="connsiteX1" fmla="*/ 3542096 w 3542096"/>
              <a:gd name="connsiteY1" fmla="*/ 193387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77356 w 3542096"/>
              <a:gd name="connsiteY4" fmla="*/ 2273 h 2849078"/>
              <a:gd name="connsiteX0" fmla="*/ 1202756 w 3567496"/>
              <a:gd name="connsiteY0" fmla="*/ 2273 h 2849078"/>
              <a:gd name="connsiteX1" fmla="*/ 3567496 w 3567496"/>
              <a:gd name="connsiteY1" fmla="*/ 1933876 h 2849078"/>
              <a:gd name="connsiteX2" fmla="*/ 3538621 w 3567496"/>
              <a:gd name="connsiteY2" fmla="*/ 2849078 h 2849078"/>
              <a:gd name="connsiteX3" fmla="*/ 0 w 3567496"/>
              <a:gd name="connsiteY3" fmla="*/ 0 h 2849078"/>
              <a:gd name="connsiteX4" fmla="*/ 1202756 w 3567496"/>
              <a:gd name="connsiteY4" fmla="*/ 2273 h 2849078"/>
              <a:gd name="connsiteX0" fmla="*/ 1202756 w 3579896"/>
              <a:gd name="connsiteY0" fmla="*/ 2273 h 2912578"/>
              <a:gd name="connsiteX1" fmla="*/ 3567496 w 3579896"/>
              <a:gd name="connsiteY1" fmla="*/ 1933876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202756 w 3579896"/>
              <a:gd name="connsiteY4" fmla="*/ 2273 h 2912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79896" h="2912578">
                <a:moveTo>
                  <a:pt x="1202756" y="2273"/>
                </a:moveTo>
                <a:lnTo>
                  <a:pt x="3567496" y="1933876"/>
                </a:lnTo>
                <a:lnTo>
                  <a:pt x="3579896" y="2912578"/>
                </a:lnTo>
                <a:lnTo>
                  <a:pt x="0" y="0"/>
                </a:lnTo>
                <a:lnTo>
                  <a:pt x="1202756" y="2273"/>
                </a:lnTo>
                <a:close/>
              </a:path>
            </a:pathLst>
          </a:custGeom>
          <a:solidFill>
            <a:schemeClr val="accent2">
              <a:lumMod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err="1">
              <a:solidFill>
                <a:schemeClr val="tx1"/>
              </a:solidFill>
            </a:endParaRPr>
          </a:p>
        </p:txBody>
      </p:sp>
      <p:sp>
        <p:nvSpPr>
          <p:cNvPr id="47" name="Rechteck 12">
            <a:extLst>
              <a:ext uri="{FF2B5EF4-FFF2-40B4-BE49-F238E27FC236}">
                <a16:creationId xmlns:a16="http://schemas.microsoft.com/office/drawing/2014/main" id="{E13710F1-D5D4-43EE-A6BE-D6F5C9176F1A}"/>
              </a:ext>
            </a:extLst>
          </p:cNvPr>
          <p:cNvSpPr/>
          <p:nvPr/>
        </p:nvSpPr>
        <p:spPr>
          <a:xfrm>
            <a:off x="940375" y="3014245"/>
            <a:ext cx="3475421" cy="2834105"/>
          </a:xfrm>
          <a:custGeom>
            <a:avLst/>
            <a:gdLst>
              <a:gd name="connsiteX0" fmla="*/ 0 w 3503596"/>
              <a:gd name="connsiteY0" fmla="*/ 0 h 2850080"/>
              <a:gd name="connsiteX1" fmla="*/ 3503596 w 3503596"/>
              <a:gd name="connsiteY1" fmla="*/ 0 h 2850080"/>
              <a:gd name="connsiteX2" fmla="*/ 3503596 w 3503596"/>
              <a:gd name="connsiteY2" fmla="*/ 2850080 h 2850080"/>
              <a:gd name="connsiteX3" fmla="*/ 0 w 3503596"/>
              <a:gd name="connsiteY3" fmla="*/ 2850080 h 2850080"/>
              <a:gd name="connsiteX4" fmla="*/ 0 w 3503596"/>
              <a:gd name="connsiteY4" fmla="*/ 0 h 2850080"/>
              <a:gd name="connsiteX0" fmla="*/ 0 w 3532471"/>
              <a:gd name="connsiteY0" fmla="*/ 0 h 2850080"/>
              <a:gd name="connsiteX1" fmla="*/ 3532471 w 3532471"/>
              <a:gd name="connsiteY1" fmla="*/ 1953928 h 2850080"/>
              <a:gd name="connsiteX2" fmla="*/ 3503596 w 3532471"/>
              <a:gd name="connsiteY2" fmla="*/ 2850080 h 2850080"/>
              <a:gd name="connsiteX3" fmla="*/ 0 w 3532471"/>
              <a:gd name="connsiteY3" fmla="*/ 2850080 h 2850080"/>
              <a:gd name="connsiteX4" fmla="*/ 0 w 3532471"/>
              <a:gd name="connsiteY4" fmla="*/ 0 h 2850080"/>
              <a:gd name="connsiteX0" fmla="*/ 1155031 w 3532471"/>
              <a:gd name="connsiteY0" fmla="*/ 0 h 2840455"/>
              <a:gd name="connsiteX1" fmla="*/ 3532471 w 3532471"/>
              <a:gd name="connsiteY1" fmla="*/ 1944303 h 2840455"/>
              <a:gd name="connsiteX2" fmla="*/ 3503596 w 3532471"/>
              <a:gd name="connsiteY2" fmla="*/ 2840455 h 2840455"/>
              <a:gd name="connsiteX3" fmla="*/ 0 w 3532471"/>
              <a:gd name="connsiteY3" fmla="*/ 2840455 h 2840455"/>
              <a:gd name="connsiteX4" fmla="*/ 1155031 w 3532471"/>
              <a:gd name="connsiteY4" fmla="*/ 0 h 2840455"/>
              <a:gd name="connsiteX0" fmla="*/ 1164656 w 3542096"/>
              <a:gd name="connsiteY0" fmla="*/ 8623 h 2849078"/>
              <a:gd name="connsiteX1" fmla="*/ 3542096 w 3542096"/>
              <a:gd name="connsiteY1" fmla="*/ 195292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64656 w 3542096"/>
              <a:gd name="connsiteY4" fmla="*/ 8623 h 2849078"/>
              <a:gd name="connsiteX0" fmla="*/ 1164656 w 3542096"/>
              <a:gd name="connsiteY0" fmla="*/ 8623 h 2849078"/>
              <a:gd name="connsiteX1" fmla="*/ 3542096 w 3542096"/>
              <a:gd name="connsiteY1" fmla="*/ 193387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64656 w 3542096"/>
              <a:gd name="connsiteY4" fmla="*/ 8623 h 2849078"/>
              <a:gd name="connsiteX0" fmla="*/ 1177356 w 3542096"/>
              <a:gd name="connsiteY0" fmla="*/ 2273 h 2849078"/>
              <a:gd name="connsiteX1" fmla="*/ 3542096 w 3542096"/>
              <a:gd name="connsiteY1" fmla="*/ 193387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77356 w 3542096"/>
              <a:gd name="connsiteY4" fmla="*/ 2273 h 2849078"/>
              <a:gd name="connsiteX0" fmla="*/ 1202756 w 3567496"/>
              <a:gd name="connsiteY0" fmla="*/ 2273 h 2849078"/>
              <a:gd name="connsiteX1" fmla="*/ 3567496 w 3567496"/>
              <a:gd name="connsiteY1" fmla="*/ 1933876 h 2849078"/>
              <a:gd name="connsiteX2" fmla="*/ 3538621 w 3567496"/>
              <a:gd name="connsiteY2" fmla="*/ 2849078 h 2849078"/>
              <a:gd name="connsiteX3" fmla="*/ 0 w 3567496"/>
              <a:gd name="connsiteY3" fmla="*/ 0 h 2849078"/>
              <a:gd name="connsiteX4" fmla="*/ 1202756 w 3567496"/>
              <a:gd name="connsiteY4" fmla="*/ 2273 h 2849078"/>
              <a:gd name="connsiteX0" fmla="*/ 1202756 w 3579896"/>
              <a:gd name="connsiteY0" fmla="*/ 2273 h 2912578"/>
              <a:gd name="connsiteX1" fmla="*/ 3567496 w 3579896"/>
              <a:gd name="connsiteY1" fmla="*/ 1933876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202756 w 3579896"/>
              <a:gd name="connsiteY4" fmla="*/ 2273 h 2912578"/>
              <a:gd name="connsiteX0" fmla="*/ 1202756 w 4767646"/>
              <a:gd name="connsiteY0" fmla="*/ 2273 h 2914951"/>
              <a:gd name="connsiteX1" fmla="*/ 4767646 w 4767646"/>
              <a:gd name="connsiteY1" fmla="*/ 2914951 h 2914951"/>
              <a:gd name="connsiteX2" fmla="*/ 3579896 w 4767646"/>
              <a:gd name="connsiteY2" fmla="*/ 2912578 h 2914951"/>
              <a:gd name="connsiteX3" fmla="*/ 0 w 4767646"/>
              <a:gd name="connsiteY3" fmla="*/ 0 h 2914951"/>
              <a:gd name="connsiteX4" fmla="*/ 1202756 w 4767646"/>
              <a:gd name="connsiteY4" fmla="*/ 2273 h 2914951"/>
              <a:gd name="connsiteX0" fmla="*/ 1202756 w 4767646"/>
              <a:gd name="connsiteY0" fmla="*/ 2273 h 2915753"/>
              <a:gd name="connsiteX1" fmla="*/ 4767646 w 4767646"/>
              <a:gd name="connsiteY1" fmla="*/ 2914951 h 2915753"/>
              <a:gd name="connsiteX2" fmla="*/ 3567196 w 4767646"/>
              <a:gd name="connsiteY2" fmla="*/ 2915753 h 2915753"/>
              <a:gd name="connsiteX3" fmla="*/ 0 w 4767646"/>
              <a:gd name="connsiteY3" fmla="*/ 0 h 2915753"/>
              <a:gd name="connsiteX4" fmla="*/ 1202756 w 4767646"/>
              <a:gd name="connsiteY4" fmla="*/ 2273 h 2915753"/>
              <a:gd name="connsiteX0" fmla="*/ 1294831 w 4767646"/>
              <a:gd name="connsiteY0" fmla="*/ 110223 h 2915753"/>
              <a:gd name="connsiteX1" fmla="*/ 4767646 w 4767646"/>
              <a:gd name="connsiteY1" fmla="*/ 2914951 h 2915753"/>
              <a:gd name="connsiteX2" fmla="*/ 3567196 w 4767646"/>
              <a:gd name="connsiteY2" fmla="*/ 2915753 h 2915753"/>
              <a:gd name="connsiteX3" fmla="*/ 0 w 4767646"/>
              <a:gd name="connsiteY3" fmla="*/ 0 h 2915753"/>
              <a:gd name="connsiteX4" fmla="*/ 1294831 w 4767646"/>
              <a:gd name="connsiteY4" fmla="*/ 110223 h 2915753"/>
              <a:gd name="connsiteX0" fmla="*/ 81981 w 3554796"/>
              <a:gd name="connsiteY0" fmla="*/ 0 h 2805530"/>
              <a:gd name="connsiteX1" fmla="*/ 3554796 w 3554796"/>
              <a:gd name="connsiteY1" fmla="*/ 2804728 h 2805530"/>
              <a:gd name="connsiteX2" fmla="*/ 2354346 w 3554796"/>
              <a:gd name="connsiteY2" fmla="*/ 2805530 h 2805530"/>
              <a:gd name="connsiteX3" fmla="*/ 0 w 3554796"/>
              <a:gd name="connsiteY3" fmla="*/ 616852 h 2805530"/>
              <a:gd name="connsiteX4" fmla="*/ 81981 w 3554796"/>
              <a:gd name="connsiteY4" fmla="*/ 0 h 2805530"/>
              <a:gd name="connsiteX0" fmla="*/ 88331 w 3554796"/>
              <a:gd name="connsiteY0" fmla="*/ 0 h 2834105"/>
              <a:gd name="connsiteX1" fmla="*/ 3554796 w 3554796"/>
              <a:gd name="connsiteY1" fmla="*/ 2833303 h 2834105"/>
              <a:gd name="connsiteX2" fmla="*/ 2354346 w 3554796"/>
              <a:gd name="connsiteY2" fmla="*/ 2834105 h 2834105"/>
              <a:gd name="connsiteX3" fmla="*/ 0 w 3554796"/>
              <a:gd name="connsiteY3" fmla="*/ 645427 h 2834105"/>
              <a:gd name="connsiteX4" fmla="*/ 88331 w 3554796"/>
              <a:gd name="connsiteY4" fmla="*/ 0 h 2834105"/>
              <a:gd name="connsiteX0" fmla="*/ 8956 w 3475421"/>
              <a:gd name="connsiteY0" fmla="*/ 0 h 2834105"/>
              <a:gd name="connsiteX1" fmla="*/ 3475421 w 3475421"/>
              <a:gd name="connsiteY1" fmla="*/ 2833303 h 2834105"/>
              <a:gd name="connsiteX2" fmla="*/ 2274971 w 3475421"/>
              <a:gd name="connsiteY2" fmla="*/ 2834105 h 2834105"/>
              <a:gd name="connsiteX3" fmla="*/ 0 w 3475421"/>
              <a:gd name="connsiteY3" fmla="*/ 972452 h 2834105"/>
              <a:gd name="connsiteX4" fmla="*/ 8956 w 3475421"/>
              <a:gd name="connsiteY4" fmla="*/ 0 h 2834105"/>
              <a:gd name="connsiteX0" fmla="*/ 8956 w 3475421"/>
              <a:gd name="connsiteY0" fmla="*/ 0 h 2834105"/>
              <a:gd name="connsiteX1" fmla="*/ 3475421 w 3475421"/>
              <a:gd name="connsiteY1" fmla="*/ 2833303 h 2834105"/>
              <a:gd name="connsiteX2" fmla="*/ 2274971 w 3475421"/>
              <a:gd name="connsiteY2" fmla="*/ 2834105 h 2834105"/>
              <a:gd name="connsiteX3" fmla="*/ 0 w 3475421"/>
              <a:gd name="connsiteY3" fmla="*/ 975627 h 2834105"/>
              <a:gd name="connsiteX4" fmla="*/ 8956 w 3475421"/>
              <a:gd name="connsiteY4" fmla="*/ 0 h 28341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5421" h="2834105">
                <a:moveTo>
                  <a:pt x="8956" y="0"/>
                </a:moveTo>
                <a:lnTo>
                  <a:pt x="3475421" y="2833303"/>
                </a:lnTo>
                <a:lnTo>
                  <a:pt x="2274971" y="2834105"/>
                </a:lnTo>
                <a:lnTo>
                  <a:pt x="0" y="975627"/>
                </a:lnTo>
                <a:cubicBezTo>
                  <a:pt x="2985" y="651476"/>
                  <a:pt x="5971" y="324151"/>
                  <a:pt x="8956" y="0"/>
                </a:cubicBezTo>
                <a:close/>
              </a:path>
            </a:pathLst>
          </a:custGeom>
          <a:solidFill>
            <a:schemeClr val="accent2">
              <a:lumMod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err="1">
              <a:solidFill>
                <a:schemeClr val="tx1"/>
              </a:solidFill>
            </a:endParaRPr>
          </a:p>
        </p:txBody>
      </p:sp>
      <p:sp>
        <p:nvSpPr>
          <p:cNvPr id="48" name="Rechteck 12">
            <a:extLst>
              <a:ext uri="{FF2B5EF4-FFF2-40B4-BE49-F238E27FC236}">
                <a16:creationId xmlns:a16="http://schemas.microsoft.com/office/drawing/2014/main" id="{498EF5A1-FE1D-46A2-B37B-30A59DFFA666}"/>
              </a:ext>
            </a:extLst>
          </p:cNvPr>
          <p:cNvSpPr/>
          <p:nvPr/>
        </p:nvSpPr>
        <p:spPr>
          <a:xfrm rot="8117421">
            <a:off x="2710808" y="609304"/>
            <a:ext cx="1019770" cy="1004596"/>
          </a:xfrm>
          <a:custGeom>
            <a:avLst/>
            <a:gdLst>
              <a:gd name="connsiteX0" fmla="*/ 0 w 3503596"/>
              <a:gd name="connsiteY0" fmla="*/ 0 h 2850080"/>
              <a:gd name="connsiteX1" fmla="*/ 3503596 w 3503596"/>
              <a:gd name="connsiteY1" fmla="*/ 0 h 2850080"/>
              <a:gd name="connsiteX2" fmla="*/ 3503596 w 3503596"/>
              <a:gd name="connsiteY2" fmla="*/ 2850080 h 2850080"/>
              <a:gd name="connsiteX3" fmla="*/ 0 w 3503596"/>
              <a:gd name="connsiteY3" fmla="*/ 2850080 h 2850080"/>
              <a:gd name="connsiteX4" fmla="*/ 0 w 3503596"/>
              <a:gd name="connsiteY4" fmla="*/ 0 h 2850080"/>
              <a:gd name="connsiteX0" fmla="*/ 0 w 3532471"/>
              <a:gd name="connsiteY0" fmla="*/ 0 h 2850080"/>
              <a:gd name="connsiteX1" fmla="*/ 3532471 w 3532471"/>
              <a:gd name="connsiteY1" fmla="*/ 1953928 h 2850080"/>
              <a:gd name="connsiteX2" fmla="*/ 3503596 w 3532471"/>
              <a:gd name="connsiteY2" fmla="*/ 2850080 h 2850080"/>
              <a:gd name="connsiteX3" fmla="*/ 0 w 3532471"/>
              <a:gd name="connsiteY3" fmla="*/ 2850080 h 2850080"/>
              <a:gd name="connsiteX4" fmla="*/ 0 w 3532471"/>
              <a:gd name="connsiteY4" fmla="*/ 0 h 2850080"/>
              <a:gd name="connsiteX0" fmla="*/ 1155031 w 3532471"/>
              <a:gd name="connsiteY0" fmla="*/ 0 h 2840455"/>
              <a:gd name="connsiteX1" fmla="*/ 3532471 w 3532471"/>
              <a:gd name="connsiteY1" fmla="*/ 1944303 h 2840455"/>
              <a:gd name="connsiteX2" fmla="*/ 3503596 w 3532471"/>
              <a:gd name="connsiteY2" fmla="*/ 2840455 h 2840455"/>
              <a:gd name="connsiteX3" fmla="*/ 0 w 3532471"/>
              <a:gd name="connsiteY3" fmla="*/ 2840455 h 2840455"/>
              <a:gd name="connsiteX4" fmla="*/ 1155031 w 3532471"/>
              <a:gd name="connsiteY4" fmla="*/ 0 h 2840455"/>
              <a:gd name="connsiteX0" fmla="*/ 1164656 w 3542096"/>
              <a:gd name="connsiteY0" fmla="*/ 8623 h 2849078"/>
              <a:gd name="connsiteX1" fmla="*/ 3542096 w 3542096"/>
              <a:gd name="connsiteY1" fmla="*/ 195292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64656 w 3542096"/>
              <a:gd name="connsiteY4" fmla="*/ 8623 h 2849078"/>
              <a:gd name="connsiteX0" fmla="*/ 1164656 w 3542096"/>
              <a:gd name="connsiteY0" fmla="*/ 8623 h 2849078"/>
              <a:gd name="connsiteX1" fmla="*/ 3542096 w 3542096"/>
              <a:gd name="connsiteY1" fmla="*/ 193387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64656 w 3542096"/>
              <a:gd name="connsiteY4" fmla="*/ 8623 h 2849078"/>
              <a:gd name="connsiteX0" fmla="*/ 1177356 w 3542096"/>
              <a:gd name="connsiteY0" fmla="*/ 2273 h 2849078"/>
              <a:gd name="connsiteX1" fmla="*/ 3542096 w 3542096"/>
              <a:gd name="connsiteY1" fmla="*/ 193387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77356 w 3542096"/>
              <a:gd name="connsiteY4" fmla="*/ 2273 h 2849078"/>
              <a:gd name="connsiteX0" fmla="*/ 1202756 w 3567496"/>
              <a:gd name="connsiteY0" fmla="*/ 2273 h 2849078"/>
              <a:gd name="connsiteX1" fmla="*/ 3567496 w 3567496"/>
              <a:gd name="connsiteY1" fmla="*/ 1933876 h 2849078"/>
              <a:gd name="connsiteX2" fmla="*/ 3538621 w 3567496"/>
              <a:gd name="connsiteY2" fmla="*/ 2849078 h 2849078"/>
              <a:gd name="connsiteX3" fmla="*/ 0 w 3567496"/>
              <a:gd name="connsiteY3" fmla="*/ 0 h 2849078"/>
              <a:gd name="connsiteX4" fmla="*/ 1202756 w 3567496"/>
              <a:gd name="connsiteY4" fmla="*/ 2273 h 2849078"/>
              <a:gd name="connsiteX0" fmla="*/ 1202756 w 3579896"/>
              <a:gd name="connsiteY0" fmla="*/ 2273 h 2912578"/>
              <a:gd name="connsiteX1" fmla="*/ 3567496 w 3579896"/>
              <a:gd name="connsiteY1" fmla="*/ 1933876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202756 w 3579896"/>
              <a:gd name="connsiteY4" fmla="*/ 2273 h 2912578"/>
              <a:gd name="connsiteX0" fmla="*/ 1232978 w 3579896"/>
              <a:gd name="connsiteY0" fmla="*/ 46380 h 2912578"/>
              <a:gd name="connsiteX1" fmla="*/ 3567496 w 3579896"/>
              <a:gd name="connsiteY1" fmla="*/ 1933876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232978 w 3579896"/>
              <a:gd name="connsiteY4" fmla="*/ 46380 h 2912578"/>
              <a:gd name="connsiteX0" fmla="*/ 1383249 w 3579896"/>
              <a:gd name="connsiteY0" fmla="*/ 129300 h 2912578"/>
              <a:gd name="connsiteX1" fmla="*/ 3567496 w 3579896"/>
              <a:gd name="connsiteY1" fmla="*/ 1933876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383249 w 3579896"/>
              <a:gd name="connsiteY4" fmla="*/ 129300 h 2912578"/>
              <a:gd name="connsiteX0" fmla="*/ 1383249 w 3579896"/>
              <a:gd name="connsiteY0" fmla="*/ 129300 h 2912578"/>
              <a:gd name="connsiteX1" fmla="*/ 3423001 w 3579896"/>
              <a:gd name="connsiteY1" fmla="*/ 1816535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383249 w 3579896"/>
              <a:gd name="connsiteY4" fmla="*/ 129300 h 2912578"/>
              <a:gd name="connsiteX0" fmla="*/ 1383249 w 3579896"/>
              <a:gd name="connsiteY0" fmla="*/ 129300 h 2912578"/>
              <a:gd name="connsiteX1" fmla="*/ 3434980 w 3579896"/>
              <a:gd name="connsiteY1" fmla="*/ 1816485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383249 w 3579896"/>
              <a:gd name="connsiteY4" fmla="*/ 129300 h 2912578"/>
              <a:gd name="connsiteX0" fmla="*/ 1425636 w 3579896"/>
              <a:gd name="connsiteY0" fmla="*/ 202841 h 2912578"/>
              <a:gd name="connsiteX1" fmla="*/ 3434980 w 3579896"/>
              <a:gd name="connsiteY1" fmla="*/ 1816485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425636 w 3579896"/>
              <a:gd name="connsiteY4" fmla="*/ 202841 h 2912578"/>
              <a:gd name="connsiteX0" fmla="*/ 1383315 w 3579896"/>
              <a:gd name="connsiteY0" fmla="*/ 139132 h 2912578"/>
              <a:gd name="connsiteX1" fmla="*/ 3434980 w 3579896"/>
              <a:gd name="connsiteY1" fmla="*/ 1816485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383315 w 3579896"/>
              <a:gd name="connsiteY4" fmla="*/ 139132 h 2912578"/>
              <a:gd name="connsiteX0" fmla="*/ 1191507 w 3388088"/>
              <a:gd name="connsiteY0" fmla="*/ 120275 h 2893721"/>
              <a:gd name="connsiteX1" fmla="*/ 3243172 w 3388088"/>
              <a:gd name="connsiteY1" fmla="*/ 1797628 h 2893721"/>
              <a:gd name="connsiteX2" fmla="*/ 3388088 w 3388088"/>
              <a:gd name="connsiteY2" fmla="*/ 2893721 h 2893721"/>
              <a:gd name="connsiteX3" fmla="*/ 1 w 3388088"/>
              <a:gd name="connsiteY3" fmla="*/ 1 h 2893721"/>
              <a:gd name="connsiteX4" fmla="*/ 1191507 w 3388088"/>
              <a:gd name="connsiteY4" fmla="*/ 120275 h 2893721"/>
              <a:gd name="connsiteX0" fmla="*/ 1401381 w 3597962"/>
              <a:gd name="connsiteY0" fmla="*/ 153801 h 2927247"/>
              <a:gd name="connsiteX1" fmla="*/ 3453046 w 3597962"/>
              <a:gd name="connsiteY1" fmla="*/ 1831154 h 2927247"/>
              <a:gd name="connsiteX2" fmla="*/ 3597962 w 3597962"/>
              <a:gd name="connsiteY2" fmla="*/ 2927247 h 2927247"/>
              <a:gd name="connsiteX3" fmla="*/ 2 w 3597962"/>
              <a:gd name="connsiteY3" fmla="*/ -1 h 2927247"/>
              <a:gd name="connsiteX4" fmla="*/ 1401381 w 3597962"/>
              <a:gd name="connsiteY4" fmla="*/ 153801 h 2927247"/>
              <a:gd name="connsiteX0" fmla="*/ 1413299 w 3609880"/>
              <a:gd name="connsiteY0" fmla="*/ 143921 h 2917367"/>
              <a:gd name="connsiteX1" fmla="*/ 3464964 w 3609880"/>
              <a:gd name="connsiteY1" fmla="*/ 1821274 h 2917367"/>
              <a:gd name="connsiteX2" fmla="*/ 3609880 w 3609880"/>
              <a:gd name="connsiteY2" fmla="*/ 2917367 h 2917367"/>
              <a:gd name="connsiteX3" fmla="*/ 0 w 3609880"/>
              <a:gd name="connsiteY3" fmla="*/ -1 h 2917367"/>
              <a:gd name="connsiteX4" fmla="*/ 1413299 w 3609880"/>
              <a:gd name="connsiteY4" fmla="*/ 143921 h 2917367"/>
              <a:gd name="connsiteX0" fmla="*/ 1395236 w 3609880"/>
              <a:gd name="connsiteY0" fmla="*/ 129252 h 2917367"/>
              <a:gd name="connsiteX1" fmla="*/ 3464964 w 3609880"/>
              <a:gd name="connsiteY1" fmla="*/ 1821274 h 2917367"/>
              <a:gd name="connsiteX2" fmla="*/ 3609880 w 3609880"/>
              <a:gd name="connsiteY2" fmla="*/ 2917367 h 2917367"/>
              <a:gd name="connsiteX3" fmla="*/ 0 w 3609880"/>
              <a:gd name="connsiteY3" fmla="*/ -1 h 2917367"/>
              <a:gd name="connsiteX4" fmla="*/ 1395236 w 3609880"/>
              <a:gd name="connsiteY4" fmla="*/ 129252 h 2917367"/>
              <a:gd name="connsiteX0" fmla="*/ 1413294 w 3627938"/>
              <a:gd name="connsiteY0" fmla="*/ 143918 h 2932033"/>
              <a:gd name="connsiteX1" fmla="*/ 3483022 w 3627938"/>
              <a:gd name="connsiteY1" fmla="*/ 1835940 h 2932033"/>
              <a:gd name="connsiteX2" fmla="*/ 3627938 w 3627938"/>
              <a:gd name="connsiteY2" fmla="*/ 2932033 h 2932033"/>
              <a:gd name="connsiteX3" fmla="*/ 0 w 3627938"/>
              <a:gd name="connsiteY3" fmla="*/ -1 h 2932033"/>
              <a:gd name="connsiteX4" fmla="*/ 1413294 w 3627938"/>
              <a:gd name="connsiteY4" fmla="*/ 143918 h 2932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27938" h="2932033">
                <a:moveTo>
                  <a:pt x="1413294" y="143918"/>
                </a:moveTo>
                <a:lnTo>
                  <a:pt x="3483022" y="1835940"/>
                </a:lnTo>
                <a:lnTo>
                  <a:pt x="3627938" y="2932033"/>
                </a:lnTo>
                <a:lnTo>
                  <a:pt x="0" y="-1"/>
                </a:lnTo>
                <a:lnTo>
                  <a:pt x="1413294" y="14391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err="1">
              <a:solidFill>
                <a:schemeClr val="tx1"/>
              </a:solidFill>
            </a:endParaRPr>
          </a:p>
        </p:txBody>
      </p:sp>
      <p:sp>
        <p:nvSpPr>
          <p:cNvPr id="49" name="Rechteck 12">
            <a:extLst>
              <a:ext uri="{FF2B5EF4-FFF2-40B4-BE49-F238E27FC236}">
                <a16:creationId xmlns:a16="http://schemas.microsoft.com/office/drawing/2014/main" id="{A4319606-F985-42AE-BE4F-72304ED80F33}"/>
              </a:ext>
            </a:extLst>
          </p:cNvPr>
          <p:cNvSpPr/>
          <p:nvPr/>
        </p:nvSpPr>
        <p:spPr>
          <a:xfrm rot="8117421">
            <a:off x="2511871" y="3602845"/>
            <a:ext cx="1038984" cy="1028603"/>
          </a:xfrm>
          <a:custGeom>
            <a:avLst/>
            <a:gdLst>
              <a:gd name="connsiteX0" fmla="*/ 0 w 3503596"/>
              <a:gd name="connsiteY0" fmla="*/ 0 h 2850080"/>
              <a:gd name="connsiteX1" fmla="*/ 3503596 w 3503596"/>
              <a:gd name="connsiteY1" fmla="*/ 0 h 2850080"/>
              <a:gd name="connsiteX2" fmla="*/ 3503596 w 3503596"/>
              <a:gd name="connsiteY2" fmla="*/ 2850080 h 2850080"/>
              <a:gd name="connsiteX3" fmla="*/ 0 w 3503596"/>
              <a:gd name="connsiteY3" fmla="*/ 2850080 h 2850080"/>
              <a:gd name="connsiteX4" fmla="*/ 0 w 3503596"/>
              <a:gd name="connsiteY4" fmla="*/ 0 h 2850080"/>
              <a:gd name="connsiteX0" fmla="*/ 0 w 3532471"/>
              <a:gd name="connsiteY0" fmla="*/ 0 h 2850080"/>
              <a:gd name="connsiteX1" fmla="*/ 3532471 w 3532471"/>
              <a:gd name="connsiteY1" fmla="*/ 1953928 h 2850080"/>
              <a:gd name="connsiteX2" fmla="*/ 3503596 w 3532471"/>
              <a:gd name="connsiteY2" fmla="*/ 2850080 h 2850080"/>
              <a:gd name="connsiteX3" fmla="*/ 0 w 3532471"/>
              <a:gd name="connsiteY3" fmla="*/ 2850080 h 2850080"/>
              <a:gd name="connsiteX4" fmla="*/ 0 w 3532471"/>
              <a:gd name="connsiteY4" fmla="*/ 0 h 2850080"/>
              <a:gd name="connsiteX0" fmla="*/ 1155031 w 3532471"/>
              <a:gd name="connsiteY0" fmla="*/ 0 h 2840455"/>
              <a:gd name="connsiteX1" fmla="*/ 3532471 w 3532471"/>
              <a:gd name="connsiteY1" fmla="*/ 1944303 h 2840455"/>
              <a:gd name="connsiteX2" fmla="*/ 3503596 w 3532471"/>
              <a:gd name="connsiteY2" fmla="*/ 2840455 h 2840455"/>
              <a:gd name="connsiteX3" fmla="*/ 0 w 3532471"/>
              <a:gd name="connsiteY3" fmla="*/ 2840455 h 2840455"/>
              <a:gd name="connsiteX4" fmla="*/ 1155031 w 3532471"/>
              <a:gd name="connsiteY4" fmla="*/ 0 h 2840455"/>
              <a:gd name="connsiteX0" fmla="*/ 1164656 w 3542096"/>
              <a:gd name="connsiteY0" fmla="*/ 8623 h 2849078"/>
              <a:gd name="connsiteX1" fmla="*/ 3542096 w 3542096"/>
              <a:gd name="connsiteY1" fmla="*/ 195292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64656 w 3542096"/>
              <a:gd name="connsiteY4" fmla="*/ 8623 h 2849078"/>
              <a:gd name="connsiteX0" fmla="*/ 1164656 w 3542096"/>
              <a:gd name="connsiteY0" fmla="*/ 8623 h 2849078"/>
              <a:gd name="connsiteX1" fmla="*/ 3542096 w 3542096"/>
              <a:gd name="connsiteY1" fmla="*/ 193387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64656 w 3542096"/>
              <a:gd name="connsiteY4" fmla="*/ 8623 h 2849078"/>
              <a:gd name="connsiteX0" fmla="*/ 1177356 w 3542096"/>
              <a:gd name="connsiteY0" fmla="*/ 2273 h 2849078"/>
              <a:gd name="connsiteX1" fmla="*/ 3542096 w 3542096"/>
              <a:gd name="connsiteY1" fmla="*/ 193387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77356 w 3542096"/>
              <a:gd name="connsiteY4" fmla="*/ 2273 h 2849078"/>
              <a:gd name="connsiteX0" fmla="*/ 1202756 w 3567496"/>
              <a:gd name="connsiteY0" fmla="*/ 2273 h 2849078"/>
              <a:gd name="connsiteX1" fmla="*/ 3567496 w 3567496"/>
              <a:gd name="connsiteY1" fmla="*/ 1933876 h 2849078"/>
              <a:gd name="connsiteX2" fmla="*/ 3538621 w 3567496"/>
              <a:gd name="connsiteY2" fmla="*/ 2849078 h 2849078"/>
              <a:gd name="connsiteX3" fmla="*/ 0 w 3567496"/>
              <a:gd name="connsiteY3" fmla="*/ 0 h 2849078"/>
              <a:gd name="connsiteX4" fmla="*/ 1202756 w 3567496"/>
              <a:gd name="connsiteY4" fmla="*/ 2273 h 2849078"/>
              <a:gd name="connsiteX0" fmla="*/ 1202756 w 3579896"/>
              <a:gd name="connsiteY0" fmla="*/ 2273 h 2912578"/>
              <a:gd name="connsiteX1" fmla="*/ 3567496 w 3579896"/>
              <a:gd name="connsiteY1" fmla="*/ 1933876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202756 w 3579896"/>
              <a:gd name="connsiteY4" fmla="*/ 2273 h 2912578"/>
              <a:gd name="connsiteX0" fmla="*/ 1232978 w 3579896"/>
              <a:gd name="connsiteY0" fmla="*/ 46380 h 2912578"/>
              <a:gd name="connsiteX1" fmla="*/ 3567496 w 3579896"/>
              <a:gd name="connsiteY1" fmla="*/ 1933876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232978 w 3579896"/>
              <a:gd name="connsiteY4" fmla="*/ 46380 h 2912578"/>
              <a:gd name="connsiteX0" fmla="*/ 1383249 w 3579896"/>
              <a:gd name="connsiteY0" fmla="*/ 129300 h 2912578"/>
              <a:gd name="connsiteX1" fmla="*/ 3567496 w 3579896"/>
              <a:gd name="connsiteY1" fmla="*/ 1933876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383249 w 3579896"/>
              <a:gd name="connsiteY4" fmla="*/ 129300 h 2912578"/>
              <a:gd name="connsiteX0" fmla="*/ 1383249 w 3579896"/>
              <a:gd name="connsiteY0" fmla="*/ 129300 h 2912578"/>
              <a:gd name="connsiteX1" fmla="*/ 3423001 w 3579896"/>
              <a:gd name="connsiteY1" fmla="*/ 1816535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383249 w 3579896"/>
              <a:gd name="connsiteY4" fmla="*/ 129300 h 2912578"/>
              <a:gd name="connsiteX0" fmla="*/ 1383249 w 3579896"/>
              <a:gd name="connsiteY0" fmla="*/ 129300 h 2912578"/>
              <a:gd name="connsiteX1" fmla="*/ 3434980 w 3579896"/>
              <a:gd name="connsiteY1" fmla="*/ 1816485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383249 w 3579896"/>
              <a:gd name="connsiteY4" fmla="*/ 129300 h 2912578"/>
              <a:gd name="connsiteX0" fmla="*/ 1425636 w 3579896"/>
              <a:gd name="connsiteY0" fmla="*/ 202841 h 2912578"/>
              <a:gd name="connsiteX1" fmla="*/ 3434980 w 3579896"/>
              <a:gd name="connsiteY1" fmla="*/ 1816485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425636 w 3579896"/>
              <a:gd name="connsiteY4" fmla="*/ 202841 h 2912578"/>
              <a:gd name="connsiteX0" fmla="*/ 1383315 w 3579896"/>
              <a:gd name="connsiteY0" fmla="*/ 139132 h 2912578"/>
              <a:gd name="connsiteX1" fmla="*/ 3434980 w 3579896"/>
              <a:gd name="connsiteY1" fmla="*/ 1816485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383315 w 3579896"/>
              <a:gd name="connsiteY4" fmla="*/ 139132 h 2912578"/>
              <a:gd name="connsiteX0" fmla="*/ 1191507 w 3388088"/>
              <a:gd name="connsiteY0" fmla="*/ 120275 h 2893721"/>
              <a:gd name="connsiteX1" fmla="*/ 3243172 w 3388088"/>
              <a:gd name="connsiteY1" fmla="*/ 1797628 h 2893721"/>
              <a:gd name="connsiteX2" fmla="*/ 3388088 w 3388088"/>
              <a:gd name="connsiteY2" fmla="*/ 2893721 h 2893721"/>
              <a:gd name="connsiteX3" fmla="*/ 1 w 3388088"/>
              <a:gd name="connsiteY3" fmla="*/ 1 h 2893721"/>
              <a:gd name="connsiteX4" fmla="*/ 1191507 w 3388088"/>
              <a:gd name="connsiteY4" fmla="*/ 120275 h 2893721"/>
              <a:gd name="connsiteX0" fmla="*/ 1401381 w 3597962"/>
              <a:gd name="connsiteY0" fmla="*/ 153801 h 2927247"/>
              <a:gd name="connsiteX1" fmla="*/ 3453046 w 3597962"/>
              <a:gd name="connsiteY1" fmla="*/ 1831154 h 2927247"/>
              <a:gd name="connsiteX2" fmla="*/ 3597962 w 3597962"/>
              <a:gd name="connsiteY2" fmla="*/ 2927247 h 2927247"/>
              <a:gd name="connsiteX3" fmla="*/ 2 w 3597962"/>
              <a:gd name="connsiteY3" fmla="*/ -1 h 2927247"/>
              <a:gd name="connsiteX4" fmla="*/ 1401381 w 3597962"/>
              <a:gd name="connsiteY4" fmla="*/ 153801 h 2927247"/>
              <a:gd name="connsiteX0" fmla="*/ 1413299 w 3609880"/>
              <a:gd name="connsiteY0" fmla="*/ 143921 h 2917367"/>
              <a:gd name="connsiteX1" fmla="*/ 3464964 w 3609880"/>
              <a:gd name="connsiteY1" fmla="*/ 1821274 h 2917367"/>
              <a:gd name="connsiteX2" fmla="*/ 3609880 w 3609880"/>
              <a:gd name="connsiteY2" fmla="*/ 2917367 h 2917367"/>
              <a:gd name="connsiteX3" fmla="*/ 0 w 3609880"/>
              <a:gd name="connsiteY3" fmla="*/ -1 h 2917367"/>
              <a:gd name="connsiteX4" fmla="*/ 1413299 w 3609880"/>
              <a:gd name="connsiteY4" fmla="*/ 143921 h 2917367"/>
              <a:gd name="connsiteX0" fmla="*/ 1395236 w 3609880"/>
              <a:gd name="connsiteY0" fmla="*/ 129252 h 2917367"/>
              <a:gd name="connsiteX1" fmla="*/ 3464964 w 3609880"/>
              <a:gd name="connsiteY1" fmla="*/ 1821274 h 2917367"/>
              <a:gd name="connsiteX2" fmla="*/ 3609880 w 3609880"/>
              <a:gd name="connsiteY2" fmla="*/ 2917367 h 2917367"/>
              <a:gd name="connsiteX3" fmla="*/ 0 w 3609880"/>
              <a:gd name="connsiteY3" fmla="*/ -1 h 2917367"/>
              <a:gd name="connsiteX4" fmla="*/ 1395236 w 3609880"/>
              <a:gd name="connsiteY4" fmla="*/ 129252 h 2917367"/>
              <a:gd name="connsiteX0" fmla="*/ 1413294 w 3627938"/>
              <a:gd name="connsiteY0" fmla="*/ 143918 h 2932033"/>
              <a:gd name="connsiteX1" fmla="*/ 3483022 w 3627938"/>
              <a:gd name="connsiteY1" fmla="*/ 1835940 h 2932033"/>
              <a:gd name="connsiteX2" fmla="*/ 3627938 w 3627938"/>
              <a:gd name="connsiteY2" fmla="*/ 2932033 h 2932033"/>
              <a:gd name="connsiteX3" fmla="*/ 0 w 3627938"/>
              <a:gd name="connsiteY3" fmla="*/ -1 h 2932033"/>
              <a:gd name="connsiteX4" fmla="*/ 1413294 w 3627938"/>
              <a:gd name="connsiteY4" fmla="*/ 143918 h 2932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27938" h="2932033">
                <a:moveTo>
                  <a:pt x="1413294" y="143918"/>
                </a:moveTo>
                <a:lnTo>
                  <a:pt x="3483022" y="1835940"/>
                </a:lnTo>
                <a:lnTo>
                  <a:pt x="3627938" y="2932033"/>
                </a:lnTo>
                <a:lnTo>
                  <a:pt x="0" y="-1"/>
                </a:lnTo>
                <a:lnTo>
                  <a:pt x="1413294" y="14391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err="1">
              <a:solidFill>
                <a:schemeClr val="tx1"/>
              </a:solidFill>
            </a:endParaRPr>
          </a:p>
        </p:txBody>
      </p:sp>
      <p:sp>
        <p:nvSpPr>
          <p:cNvPr id="50" name="Rechteck 12">
            <a:extLst>
              <a:ext uri="{FF2B5EF4-FFF2-40B4-BE49-F238E27FC236}">
                <a16:creationId xmlns:a16="http://schemas.microsoft.com/office/drawing/2014/main" id="{20E43304-5696-452A-95BC-468BEEB5B759}"/>
              </a:ext>
            </a:extLst>
          </p:cNvPr>
          <p:cNvSpPr/>
          <p:nvPr/>
        </p:nvSpPr>
        <p:spPr>
          <a:xfrm rot="18909287">
            <a:off x="1792302" y="2321213"/>
            <a:ext cx="1659343" cy="1639382"/>
          </a:xfrm>
          <a:custGeom>
            <a:avLst/>
            <a:gdLst>
              <a:gd name="connsiteX0" fmla="*/ 0 w 3503596"/>
              <a:gd name="connsiteY0" fmla="*/ 0 h 2850080"/>
              <a:gd name="connsiteX1" fmla="*/ 3503596 w 3503596"/>
              <a:gd name="connsiteY1" fmla="*/ 0 h 2850080"/>
              <a:gd name="connsiteX2" fmla="*/ 3503596 w 3503596"/>
              <a:gd name="connsiteY2" fmla="*/ 2850080 h 2850080"/>
              <a:gd name="connsiteX3" fmla="*/ 0 w 3503596"/>
              <a:gd name="connsiteY3" fmla="*/ 2850080 h 2850080"/>
              <a:gd name="connsiteX4" fmla="*/ 0 w 3503596"/>
              <a:gd name="connsiteY4" fmla="*/ 0 h 2850080"/>
              <a:gd name="connsiteX0" fmla="*/ 0 w 3532471"/>
              <a:gd name="connsiteY0" fmla="*/ 0 h 2850080"/>
              <a:gd name="connsiteX1" fmla="*/ 3532471 w 3532471"/>
              <a:gd name="connsiteY1" fmla="*/ 1953928 h 2850080"/>
              <a:gd name="connsiteX2" fmla="*/ 3503596 w 3532471"/>
              <a:gd name="connsiteY2" fmla="*/ 2850080 h 2850080"/>
              <a:gd name="connsiteX3" fmla="*/ 0 w 3532471"/>
              <a:gd name="connsiteY3" fmla="*/ 2850080 h 2850080"/>
              <a:gd name="connsiteX4" fmla="*/ 0 w 3532471"/>
              <a:gd name="connsiteY4" fmla="*/ 0 h 2850080"/>
              <a:gd name="connsiteX0" fmla="*/ 1155031 w 3532471"/>
              <a:gd name="connsiteY0" fmla="*/ 0 h 2840455"/>
              <a:gd name="connsiteX1" fmla="*/ 3532471 w 3532471"/>
              <a:gd name="connsiteY1" fmla="*/ 1944303 h 2840455"/>
              <a:gd name="connsiteX2" fmla="*/ 3503596 w 3532471"/>
              <a:gd name="connsiteY2" fmla="*/ 2840455 h 2840455"/>
              <a:gd name="connsiteX3" fmla="*/ 0 w 3532471"/>
              <a:gd name="connsiteY3" fmla="*/ 2840455 h 2840455"/>
              <a:gd name="connsiteX4" fmla="*/ 1155031 w 3532471"/>
              <a:gd name="connsiteY4" fmla="*/ 0 h 2840455"/>
              <a:gd name="connsiteX0" fmla="*/ 1164656 w 3542096"/>
              <a:gd name="connsiteY0" fmla="*/ 8623 h 2849078"/>
              <a:gd name="connsiteX1" fmla="*/ 3542096 w 3542096"/>
              <a:gd name="connsiteY1" fmla="*/ 195292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64656 w 3542096"/>
              <a:gd name="connsiteY4" fmla="*/ 8623 h 2849078"/>
              <a:gd name="connsiteX0" fmla="*/ 1164656 w 3542096"/>
              <a:gd name="connsiteY0" fmla="*/ 8623 h 2849078"/>
              <a:gd name="connsiteX1" fmla="*/ 3542096 w 3542096"/>
              <a:gd name="connsiteY1" fmla="*/ 193387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64656 w 3542096"/>
              <a:gd name="connsiteY4" fmla="*/ 8623 h 2849078"/>
              <a:gd name="connsiteX0" fmla="*/ 1177356 w 3542096"/>
              <a:gd name="connsiteY0" fmla="*/ 2273 h 2849078"/>
              <a:gd name="connsiteX1" fmla="*/ 3542096 w 3542096"/>
              <a:gd name="connsiteY1" fmla="*/ 193387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77356 w 3542096"/>
              <a:gd name="connsiteY4" fmla="*/ 2273 h 2849078"/>
              <a:gd name="connsiteX0" fmla="*/ 1202756 w 3567496"/>
              <a:gd name="connsiteY0" fmla="*/ 2273 h 2849078"/>
              <a:gd name="connsiteX1" fmla="*/ 3567496 w 3567496"/>
              <a:gd name="connsiteY1" fmla="*/ 1933876 h 2849078"/>
              <a:gd name="connsiteX2" fmla="*/ 3538621 w 3567496"/>
              <a:gd name="connsiteY2" fmla="*/ 2849078 h 2849078"/>
              <a:gd name="connsiteX3" fmla="*/ 0 w 3567496"/>
              <a:gd name="connsiteY3" fmla="*/ 0 h 2849078"/>
              <a:gd name="connsiteX4" fmla="*/ 1202756 w 3567496"/>
              <a:gd name="connsiteY4" fmla="*/ 2273 h 2849078"/>
              <a:gd name="connsiteX0" fmla="*/ 1202756 w 3579896"/>
              <a:gd name="connsiteY0" fmla="*/ 2273 h 2912578"/>
              <a:gd name="connsiteX1" fmla="*/ 3567496 w 3579896"/>
              <a:gd name="connsiteY1" fmla="*/ 1933876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202756 w 3579896"/>
              <a:gd name="connsiteY4" fmla="*/ 2273 h 2912578"/>
              <a:gd name="connsiteX0" fmla="*/ 1232978 w 3579896"/>
              <a:gd name="connsiteY0" fmla="*/ 46380 h 2912578"/>
              <a:gd name="connsiteX1" fmla="*/ 3567496 w 3579896"/>
              <a:gd name="connsiteY1" fmla="*/ 1933876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232978 w 3579896"/>
              <a:gd name="connsiteY4" fmla="*/ 46380 h 2912578"/>
              <a:gd name="connsiteX0" fmla="*/ 1383249 w 3579896"/>
              <a:gd name="connsiteY0" fmla="*/ 129300 h 2912578"/>
              <a:gd name="connsiteX1" fmla="*/ 3567496 w 3579896"/>
              <a:gd name="connsiteY1" fmla="*/ 1933876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383249 w 3579896"/>
              <a:gd name="connsiteY4" fmla="*/ 129300 h 2912578"/>
              <a:gd name="connsiteX0" fmla="*/ 1383249 w 3579896"/>
              <a:gd name="connsiteY0" fmla="*/ 129300 h 2912578"/>
              <a:gd name="connsiteX1" fmla="*/ 3423001 w 3579896"/>
              <a:gd name="connsiteY1" fmla="*/ 1816535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383249 w 3579896"/>
              <a:gd name="connsiteY4" fmla="*/ 129300 h 2912578"/>
              <a:gd name="connsiteX0" fmla="*/ 1383249 w 3579896"/>
              <a:gd name="connsiteY0" fmla="*/ 129300 h 2912578"/>
              <a:gd name="connsiteX1" fmla="*/ 3434980 w 3579896"/>
              <a:gd name="connsiteY1" fmla="*/ 1816485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383249 w 3579896"/>
              <a:gd name="connsiteY4" fmla="*/ 129300 h 2912578"/>
              <a:gd name="connsiteX0" fmla="*/ 1425636 w 3579896"/>
              <a:gd name="connsiteY0" fmla="*/ 202841 h 2912578"/>
              <a:gd name="connsiteX1" fmla="*/ 3434980 w 3579896"/>
              <a:gd name="connsiteY1" fmla="*/ 1816485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425636 w 3579896"/>
              <a:gd name="connsiteY4" fmla="*/ 202841 h 2912578"/>
              <a:gd name="connsiteX0" fmla="*/ 1383315 w 3579896"/>
              <a:gd name="connsiteY0" fmla="*/ 139132 h 2912578"/>
              <a:gd name="connsiteX1" fmla="*/ 3434980 w 3579896"/>
              <a:gd name="connsiteY1" fmla="*/ 1816485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383315 w 3579896"/>
              <a:gd name="connsiteY4" fmla="*/ 139132 h 2912578"/>
              <a:gd name="connsiteX0" fmla="*/ 1191507 w 3388088"/>
              <a:gd name="connsiteY0" fmla="*/ 120275 h 2893721"/>
              <a:gd name="connsiteX1" fmla="*/ 3243172 w 3388088"/>
              <a:gd name="connsiteY1" fmla="*/ 1797628 h 2893721"/>
              <a:gd name="connsiteX2" fmla="*/ 3388088 w 3388088"/>
              <a:gd name="connsiteY2" fmla="*/ 2893721 h 2893721"/>
              <a:gd name="connsiteX3" fmla="*/ 1 w 3388088"/>
              <a:gd name="connsiteY3" fmla="*/ 1 h 2893721"/>
              <a:gd name="connsiteX4" fmla="*/ 1191507 w 3388088"/>
              <a:gd name="connsiteY4" fmla="*/ 120275 h 2893721"/>
              <a:gd name="connsiteX0" fmla="*/ 1401381 w 3597962"/>
              <a:gd name="connsiteY0" fmla="*/ 153801 h 2927247"/>
              <a:gd name="connsiteX1" fmla="*/ 3453046 w 3597962"/>
              <a:gd name="connsiteY1" fmla="*/ 1831154 h 2927247"/>
              <a:gd name="connsiteX2" fmla="*/ 3597962 w 3597962"/>
              <a:gd name="connsiteY2" fmla="*/ 2927247 h 2927247"/>
              <a:gd name="connsiteX3" fmla="*/ 2 w 3597962"/>
              <a:gd name="connsiteY3" fmla="*/ -1 h 2927247"/>
              <a:gd name="connsiteX4" fmla="*/ 1401381 w 3597962"/>
              <a:gd name="connsiteY4" fmla="*/ 153801 h 2927247"/>
              <a:gd name="connsiteX0" fmla="*/ 1413299 w 3609880"/>
              <a:gd name="connsiteY0" fmla="*/ 143921 h 2917367"/>
              <a:gd name="connsiteX1" fmla="*/ 3464964 w 3609880"/>
              <a:gd name="connsiteY1" fmla="*/ 1821274 h 2917367"/>
              <a:gd name="connsiteX2" fmla="*/ 3609880 w 3609880"/>
              <a:gd name="connsiteY2" fmla="*/ 2917367 h 2917367"/>
              <a:gd name="connsiteX3" fmla="*/ 0 w 3609880"/>
              <a:gd name="connsiteY3" fmla="*/ -1 h 2917367"/>
              <a:gd name="connsiteX4" fmla="*/ 1413299 w 3609880"/>
              <a:gd name="connsiteY4" fmla="*/ 143921 h 2917367"/>
              <a:gd name="connsiteX0" fmla="*/ 1395236 w 3609880"/>
              <a:gd name="connsiteY0" fmla="*/ 129252 h 2917367"/>
              <a:gd name="connsiteX1" fmla="*/ 3464964 w 3609880"/>
              <a:gd name="connsiteY1" fmla="*/ 1821274 h 2917367"/>
              <a:gd name="connsiteX2" fmla="*/ 3609880 w 3609880"/>
              <a:gd name="connsiteY2" fmla="*/ 2917367 h 2917367"/>
              <a:gd name="connsiteX3" fmla="*/ 0 w 3609880"/>
              <a:gd name="connsiteY3" fmla="*/ -1 h 2917367"/>
              <a:gd name="connsiteX4" fmla="*/ 1395236 w 3609880"/>
              <a:gd name="connsiteY4" fmla="*/ 129252 h 2917367"/>
              <a:gd name="connsiteX0" fmla="*/ 1413294 w 3627938"/>
              <a:gd name="connsiteY0" fmla="*/ 143918 h 2932033"/>
              <a:gd name="connsiteX1" fmla="*/ 3483022 w 3627938"/>
              <a:gd name="connsiteY1" fmla="*/ 1835940 h 2932033"/>
              <a:gd name="connsiteX2" fmla="*/ 3627938 w 3627938"/>
              <a:gd name="connsiteY2" fmla="*/ 2932033 h 2932033"/>
              <a:gd name="connsiteX3" fmla="*/ 0 w 3627938"/>
              <a:gd name="connsiteY3" fmla="*/ -1 h 2932033"/>
              <a:gd name="connsiteX4" fmla="*/ 1413294 w 3627938"/>
              <a:gd name="connsiteY4" fmla="*/ 143918 h 2932033"/>
              <a:gd name="connsiteX0" fmla="*/ 1413294 w 4505147"/>
              <a:gd name="connsiteY0" fmla="*/ 143918 h 3570188"/>
              <a:gd name="connsiteX1" fmla="*/ 3483022 w 4505147"/>
              <a:gd name="connsiteY1" fmla="*/ 1835940 h 3570188"/>
              <a:gd name="connsiteX2" fmla="*/ 4505147 w 4505147"/>
              <a:gd name="connsiteY2" fmla="*/ 3570187 h 3570188"/>
              <a:gd name="connsiteX3" fmla="*/ 0 w 4505147"/>
              <a:gd name="connsiteY3" fmla="*/ -1 h 3570188"/>
              <a:gd name="connsiteX4" fmla="*/ 1413294 w 4505147"/>
              <a:gd name="connsiteY4" fmla="*/ 143918 h 3570188"/>
              <a:gd name="connsiteX0" fmla="*/ 1413294 w 4505147"/>
              <a:gd name="connsiteY0" fmla="*/ 143918 h 3570188"/>
              <a:gd name="connsiteX1" fmla="*/ 4403248 w 4505147"/>
              <a:gd name="connsiteY1" fmla="*/ 2770942 h 3570188"/>
              <a:gd name="connsiteX2" fmla="*/ 4505147 w 4505147"/>
              <a:gd name="connsiteY2" fmla="*/ 3570187 h 3570188"/>
              <a:gd name="connsiteX3" fmla="*/ 0 w 4505147"/>
              <a:gd name="connsiteY3" fmla="*/ -1 h 3570188"/>
              <a:gd name="connsiteX4" fmla="*/ 1413294 w 4505147"/>
              <a:gd name="connsiteY4" fmla="*/ 143918 h 3570188"/>
              <a:gd name="connsiteX0" fmla="*/ 1268490 w 4505147"/>
              <a:gd name="connsiteY0" fmla="*/ 379192 h 3570188"/>
              <a:gd name="connsiteX1" fmla="*/ 4403248 w 4505147"/>
              <a:gd name="connsiteY1" fmla="*/ 2770942 h 3570188"/>
              <a:gd name="connsiteX2" fmla="*/ 4505147 w 4505147"/>
              <a:gd name="connsiteY2" fmla="*/ 3570187 h 3570188"/>
              <a:gd name="connsiteX3" fmla="*/ 0 w 4505147"/>
              <a:gd name="connsiteY3" fmla="*/ -1 h 3570188"/>
              <a:gd name="connsiteX4" fmla="*/ 1268490 w 4505147"/>
              <a:gd name="connsiteY4" fmla="*/ 379192 h 3570188"/>
              <a:gd name="connsiteX0" fmla="*/ 1079461 w 4505147"/>
              <a:gd name="connsiteY0" fmla="*/ 126942 h 3570188"/>
              <a:gd name="connsiteX1" fmla="*/ 4403248 w 4505147"/>
              <a:gd name="connsiteY1" fmla="*/ 2770942 h 3570188"/>
              <a:gd name="connsiteX2" fmla="*/ 4505147 w 4505147"/>
              <a:gd name="connsiteY2" fmla="*/ 3570187 h 3570188"/>
              <a:gd name="connsiteX3" fmla="*/ 0 w 4505147"/>
              <a:gd name="connsiteY3" fmla="*/ -1 h 3570188"/>
              <a:gd name="connsiteX4" fmla="*/ 1079461 w 4505147"/>
              <a:gd name="connsiteY4" fmla="*/ 126942 h 3570188"/>
              <a:gd name="connsiteX0" fmla="*/ 1079461 w 4505147"/>
              <a:gd name="connsiteY0" fmla="*/ 126942 h 3570188"/>
              <a:gd name="connsiteX1" fmla="*/ 4407746 w 4505147"/>
              <a:gd name="connsiteY1" fmla="*/ 2759921 h 3570188"/>
              <a:gd name="connsiteX2" fmla="*/ 4505147 w 4505147"/>
              <a:gd name="connsiteY2" fmla="*/ 3570187 h 3570188"/>
              <a:gd name="connsiteX3" fmla="*/ 0 w 4505147"/>
              <a:gd name="connsiteY3" fmla="*/ -1 h 3570188"/>
              <a:gd name="connsiteX4" fmla="*/ 1079461 w 4505147"/>
              <a:gd name="connsiteY4" fmla="*/ 126942 h 3570188"/>
              <a:gd name="connsiteX0" fmla="*/ 1102303 w 4505147"/>
              <a:gd name="connsiteY0" fmla="*/ 123226 h 3570188"/>
              <a:gd name="connsiteX1" fmla="*/ 4407746 w 4505147"/>
              <a:gd name="connsiteY1" fmla="*/ 2759921 h 3570188"/>
              <a:gd name="connsiteX2" fmla="*/ 4505147 w 4505147"/>
              <a:gd name="connsiteY2" fmla="*/ 3570187 h 3570188"/>
              <a:gd name="connsiteX3" fmla="*/ 0 w 4505147"/>
              <a:gd name="connsiteY3" fmla="*/ -1 h 3570188"/>
              <a:gd name="connsiteX4" fmla="*/ 1102303 w 4505147"/>
              <a:gd name="connsiteY4" fmla="*/ 123226 h 3570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05147" h="3570188">
                <a:moveTo>
                  <a:pt x="1102303" y="123226"/>
                </a:moveTo>
                <a:lnTo>
                  <a:pt x="4407746" y="2759921"/>
                </a:lnTo>
                <a:lnTo>
                  <a:pt x="4505147" y="3570187"/>
                </a:lnTo>
                <a:lnTo>
                  <a:pt x="0" y="-1"/>
                </a:lnTo>
                <a:lnTo>
                  <a:pt x="1102303" y="123226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err="1">
              <a:solidFill>
                <a:schemeClr val="tx1"/>
              </a:solidFill>
            </a:endParaRP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015E8A66-9FF2-46FF-BB24-1EED97909F95}"/>
              </a:ext>
            </a:extLst>
          </p:cNvPr>
          <p:cNvSpPr txBox="1"/>
          <p:nvPr/>
        </p:nvSpPr>
        <p:spPr>
          <a:xfrm>
            <a:off x="2261936" y="2871604"/>
            <a:ext cx="167479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b="1">
                <a:solidFill>
                  <a:schemeClr val="accent2">
                    <a:lumMod val="50000"/>
                  </a:schemeClr>
                </a:solidFill>
              </a:rPr>
              <a:t>übersichtlich</a:t>
            </a:r>
          </a:p>
        </p:txBody>
      </p:sp>
      <p:sp>
        <p:nvSpPr>
          <p:cNvPr id="52" name="Rechteck 12">
            <a:extLst>
              <a:ext uri="{FF2B5EF4-FFF2-40B4-BE49-F238E27FC236}">
                <a16:creationId xmlns:a16="http://schemas.microsoft.com/office/drawing/2014/main" id="{06AA85D3-30CC-47AC-8914-889DF8F85AA3}"/>
              </a:ext>
            </a:extLst>
          </p:cNvPr>
          <p:cNvSpPr/>
          <p:nvPr/>
        </p:nvSpPr>
        <p:spPr>
          <a:xfrm rot="18904130">
            <a:off x="2144328" y="2266482"/>
            <a:ext cx="971552" cy="961332"/>
          </a:xfrm>
          <a:custGeom>
            <a:avLst/>
            <a:gdLst>
              <a:gd name="connsiteX0" fmla="*/ 0 w 3503596"/>
              <a:gd name="connsiteY0" fmla="*/ 0 h 2850080"/>
              <a:gd name="connsiteX1" fmla="*/ 3503596 w 3503596"/>
              <a:gd name="connsiteY1" fmla="*/ 0 h 2850080"/>
              <a:gd name="connsiteX2" fmla="*/ 3503596 w 3503596"/>
              <a:gd name="connsiteY2" fmla="*/ 2850080 h 2850080"/>
              <a:gd name="connsiteX3" fmla="*/ 0 w 3503596"/>
              <a:gd name="connsiteY3" fmla="*/ 2850080 h 2850080"/>
              <a:gd name="connsiteX4" fmla="*/ 0 w 3503596"/>
              <a:gd name="connsiteY4" fmla="*/ 0 h 2850080"/>
              <a:gd name="connsiteX0" fmla="*/ 0 w 3532471"/>
              <a:gd name="connsiteY0" fmla="*/ 0 h 2850080"/>
              <a:gd name="connsiteX1" fmla="*/ 3532471 w 3532471"/>
              <a:gd name="connsiteY1" fmla="*/ 1953928 h 2850080"/>
              <a:gd name="connsiteX2" fmla="*/ 3503596 w 3532471"/>
              <a:gd name="connsiteY2" fmla="*/ 2850080 h 2850080"/>
              <a:gd name="connsiteX3" fmla="*/ 0 w 3532471"/>
              <a:gd name="connsiteY3" fmla="*/ 2850080 h 2850080"/>
              <a:gd name="connsiteX4" fmla="*/ 0 w 3532471"/>
              <a:gd name="connsiteY4" fmla="*/ 0 h 2850080"/>
              <a:gd name="connsiteX0" fmla="*/ 1155031 w 3532471"/>
              <a:gd name="connsiteY0" fmla="*/ 0 h 2840455"/>
              <a:gd name="connsiteX1" fmla="*/ 3532471 w 3532471"/>
              <a:gd name="connsiteY1" fmla="*/ 1944303 h 2840455"/>
              <a:gd name="connsiteX2" fmla="*/ 3503596 w 3532471"/>
              <a:gd name="connsiteY2" fmla="*/ 2840455 h 2840455"/>
              <a:gd name="connsiteX3" fmla="*/ 0 w 3532471"/>
              <a:gd name="connsiteY3" fmla="*/ 2840455 h 2840455"/>
              <a:gd name="connsiteX4" fmla="*/ 1155031 w 3532471"/>
              <a:gd name="connsiteY4" fmla="*/ 0 h 2840455"/>
              <a:gd name="connsiteX0" fmla="*/ 1164656 w 3542096"/>
              <a:gd name="connsiteY0" fmla="*/ 8623 h 2849078"/>
              <a:gd name="connsiteX1" fmla="*/ 3542096 w 3542096"/>
              <a:gd name="connsiteY1" fmla="*/ 195292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64656 w 3542096"/>
              <a:gd name="connsiteY4" fmla="*/ 8623 h 2849078"/>
              <a:gd name="connsiteX0" fmla="*/ 1164656 w 3542096"/>
              <a:gd name="connsiteY0" fmla="*/ 8623 h 2849078"/>
              <a:gd name="connsiteX1" fmla="*/ 3542096 w 3542096"/>
              <a:gd name="connsiteY1" fmla="*/ 193387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64656 w 3542096"/>
              <a:gd name="connsiteY4" fmla="*/ 8623 h 2849078"/>
              <a:gd name="connsiteX0" fmla="*/ 1177356 w 3542096"/>
              <a:gd name="connsiteY0" fmla="*/ 2273 h 2849078"/>
              <a:gd name="connsiteX1" fmla="*/ 3542096 w 3542096"/>
              <a:gd name="connsiteY1" fmla="*/ 193387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77356 w 3542096"/>
              <a:gd name="connsiteY4" fmla="*/ 2273 h 2849078"/>
              <a:gd name="connsiteX0" fmla="*/ 1202756 w 3567496"/>
              <a:gd name="connsiteY0" fmla="*/ 2273 h 2849078"/>
              <a:gd name="connsiteX1" fmla="*/ 3567496 w 3567496"/>
              <a:gd name="connsiteY1" fmla="*/ 1933876 h 2849078"/>
              <a:gd name="connsiteX2" fmla="*/ 3538621 w 3567496"/>
              <a:gd name="connsiteY2" fmla="*/ 2849078 h 2849078"/>
              <a:gd name="connsiteX3" fmla="*/ 0 w 3567496"/>
              <a:gd name="connsiteY3" fmla="*/ 0 h 2849078"/>
              <a:gd name="connsiteX4" fmla="*/ 1202756 w 3567496"/>
              <a:gd name="connsiteY4" fmla="*/ 2273 h 2849078"/>
              <a:gd name="connsiteX0" fmla="*/ 1202756 w 3579896"/>
              <a:gd name="connsiteY0" fmla="*/ 2273 h 2912578"/>
              <a:gd name="connsiteX1" fmla="*/ 3567496 w 3579896"/>
              <a:gd name="connsiteY1" fmla="*/ 1933876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202756 w 3579896"/>
              <a:gd name="connsiteY4" fmla="*/ 2273 h 2912578"/>
              <a:gd name="connsiteX0" fmla="*/ 1232978 w 3579896"/>
              <a:gd name="connsiteY0" fmla="*/ 46380 h 2912578"/>
              <a:gd name="connsiteX1" fmla="*/ 3567496 w 3579896"/>
              <a:gd name="connsiteY1" fmla="*/ 1933876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232978 w 3579896"/>
              <a:gd name="connsiteY4" fmla="*/ 46380 h 2912578"/>
              <a:gd name="connsiteX0" fmla="*/ 1383249 w 3579896"/>
              <a:gd name="connsiteY0" fmla="*/ 129300 h 2912578"/>
              <a:gd name="connsiteX1" fmla="*/ 3567496 w 3579896"/>
              <a:gd name="connsiteY1" fmla="*/ 1933876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383249 w 3579896"/>
              <a:gd name="connsiteY4" fmla="*/ 129300 h 2912578"/>
              <a:gd name="connsiteX0" fmla="*/ 1383249 w 3579896"/>
              <a:gd name="connsiteY0" fmla="*/ 129300 h 2912578"/>
              <a:gd name="connsiteX1" fmla="*/ 3423001 w 3579896"/>
              <a:gd name="connsiteY1" fmla="*/ 1816535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383249 w 3579896"/>
              <a:gd name="connsiteY4" fmla="*/ 129300 h 2912578"/>
              <a:gd name="connsiteX0" fmla="*/ 1383249 w 3579896"/>
              <a:gd name="connsiteY0" fmla="*/ 129300 h 2912578"/>
              <a:gd name="connsiteX1" fmla="*/ 3434980 w 3579896"/>
              <a:gd name="connsiteY1" fmla="*/ 1816485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383249 w 3579896"/>
              <a:gd name="connsiteY4" fmla="*/ 129300 h 2912578"/>
              <a:gd name="connsiteX0" fmla="*/ 1425636 w 3579896"/>
              <a:gd name="connsiteY0" fmla="*/ 202841 h 2912578"/>
              <a:gd name="connsiteX1" fmla="*/ 3434980 w 3579896"/>
              <a:gd name="connsiteY1" fmla="*/ 1816485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425636 w 3579896"/>
              <a:gd name="connsiteY4" fmla="*/ 202841 h 2912578"/>
              <a:gd name="connsiteX0" fmla="*/ 1383315 w 3579896"/>
              <a:gd name="connsiteY0" fmla="*/ 139132 h 2912578"/>
              <a:gd name="connsiteX1" fmla="*/ 3434980 w 3579896"/>
              <a:gd name="connsiteY1" fmla="*/ 1816485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383315 w 3579896"/>
              <a:gd name="connsiteY4" fmla="*/ 139132 h 2912578"/>
              <a:gd name="connsiteX0" fmla="*/ 1191507 w 3388088"/>
              <a:gd name="connsiteY0" fmla="*/ 120275 h 2893721"/>
              <a:gd name="connsiteX1" fmla="*/ 3243172 w 3388088"/>
              <a:gd name="connsiteY1" fmla="*/ 1797628 h 2893721"/>
              <a:gd name="connsiteX2" fmla="*/ 3388088 w 3388088"/>
              <a:gd name="connsiteY2" fmla="*/ 2893721 h 2893721"/>
              <a:gd name="connsiteX3" fmla="*/ 1 w 3388088"/>
              <a:gd name="connsiteY3" fmla="*/ 1 h 2893721"/>
              <a:gd name="connsiteX4" fmla="*/ 1191507 w 3388088"/>
              <a:gd name="connsiteY4" fmla="*/ 120275 h 2893721"/>
              <a:gd name="connsiteX0" fmla="*/ 1401381 w 3597962"/>
              <a:gd name="connsiteY0" fmla="*/ 153801 h 2927247"/>
              <a:gd name="connsiteX1" fmla="*/ 3453046 w 3597962"/>
              <a:gd name="connsiteY1" fmla="*/ 1831154 h 2927247"/>
              <a:gd name="connsiteX2" fmla="*/ 3597962 w 3597962"/>
              <a:gd name="connsiteY2" fmla="*/ 2927247 h 2927247"/>
              <a:gd name="connsiteX3" fmla="*/ 2 w 3597962"/>
              <a:gd name="connsiteY3" fmla="*/ -1 h 2927247"/>
              <a:gd name="connsiteX4" fmla="*/ 1401381 w 3597962"/>
              <a:gd name="connsiteY4" fmla="*/ 153801 h 2927247"/>
              <a:gd name="connsiteX0" fmla="*/ 1413299 w 3609880"/>
              <a:gd name="connsiteY0" fmla="*/ 143921 h 2917367"/>
              <a:gd name="connsiteX1" fmla="*/ 3464964 w 3609880"/>
              <a:gd name="connsiteY1" fmla="*/ 1821274 h 2917367"/>
              <a:gd name="connsiteX2" fmla="*/ 3609880 w 3609880"/>
              <a:gd name="connsiteY2" fmla="*/ 2917367 h 2917367"/>
              <a:gd name="connsiteX3" fmla="*/ 0 w 3609880"/>
              <a:gd name="connsiteY3" fmla="*/ -1 h 2917367"/>
              <a:gd name="connsiteX4" fmla="*/ 1413299 w 3609880"/>
              <a:gd name="connsiteY4" fmla="*/ 143921 h 2917367"/>
              <a:gd name="connsiteX0" fmla="*/ 1395236 w 3609880"/>
              <a:gd name="connsiteY0" fmla="*/ 129252 h 2917367"/>
              <a:gd name="connsiteX1" fmla="*/ 3464964 w 3609880"/>
              <a:gd name="connsiteY1" fmla="*/ 1821274 h 2917367"/>
              <a:gd name="connsiteX2" fmla="*/ 3609880 w 3609880"/>
              <a:gd name="connsiteY2" fmla="*/ 2917367 h 2917367"/>
              <a:gd name="connsiteX3" fmla="*/ 0 w 3609880"/>
              <a:gd name="connsiteY3" fmla="*/ -1 h 2917367"/>
              <a:gd name="connsiteX4" fmla="*/ 1395236 w 3609880"/>
              <a:gd name="connsiteY4" fmla="*/ 129252 h 2917367"/>
              <a:gd name="connsiteX0" fmla="*/ 1413294 w 3627938"/>
              <a:gd name="connsiteY0" fmla="*/ 143918 h 2932033"/>
              <a:gd name="connsiteX1" fmla="*/ 3483022 w 3627938"/>
              <a:gd name="connsiteY1" fmla="*/ 1835940 h 2932033"/>
              <a:gd name="connsiteX2" fmla="*/ 3627938 w 3627938"/>
              <a:gd name="connsiteY2" fmla="*/ 2932033 h 2932033"/>
              <a:gd name="connsiteX3" fmla="*/ 0 w 3627938"/>
              <a:gd name="connsiteY3" fmla="*/ -1 h 2932033"/>
              <a:gd name="connsiteX4" fmla="*/ 1413294 w 3627938"/>
              <a:gd name="connsiteY4" fmla="*/ 143918 h 2932033"/>
              <a:gd name="connsiteX0" fmla="*/ 1177834 w 3392478"/>
              <a:gd name="connsiteY0" fmla="*/ -1 h 2788114"/>
              <a:gd name="connsiteX1" fmla="*/ 3247562 w 3392478"/>
              <a:gd name="connsiteY1" fmla="*/ 1692021 h 2788114"/>
              <a:gd name="connsiteX2" fmla="*/ 3392478 w 3392478"/>
              <a:gd name="connsiteY2" fmla="*/ 2788114 h 2788114"/>
              <a:gd name="connsiteX3" fmla="*/ 0 w 3392478"/>
              <a:gd name="connsiteY3" fmla="*/ 47836 h 2788114"/>
              <a:gd name="connsiteX4" fmla="*/ 1177834 w 3392478"/>
              <a:gd name="connsiteY4" fmla="*/ -1 h 2788114"/>
              <a:gd name="connsiteX0" fmla="*/ 1430955 w 3392478"/>
              <a:gd name="connsiteY0" fmla="*/ 158299 h 2740277"/>
              <a:gd name="connsiteX1" fmla="*/ 3247562 w 3392478"/>
              <a:gd name="connsiteY1" fmla="*/ 1644184 h 2740277"/>
              <a:gd name="connsiteX2" fmla="*/ 3392478 w 3392478"/>
              <a:gd name="connsiteY2" fmla="*/ 2740277 h 2740277"/>
              <a:gd name="connsiteX3" fmla="*/ 0 w 3392478"/>
              <a:gd name="connsiteY3" fmla="*/ -1 h 2740277"/>
              <a:gd name="connsiteX4" fmla="*/ 1430955 w 3392478"/>
              <a:gd name="connsiteY4" fmla="*/ 158299 h 2740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92478" h="2740277">
                <a:moveTo>
                  <a:pt x="1430955" y="158299"/>
                </a:moveTo>
                <a:lnTo>
                  <a:pt x="3247562" y="1644184"/>
                </a:lnTo>
                <a:lnTo>
                  <a:pt x="3392478" y="2740277"/>
                </a:lnTo>
                <a:lnTo>
                  <a:pt x="0" y="-1"/>
                </a:lnTo>
                <a:lnTo>
                  <a:pt x="1430955" y="158299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err="1">
              <a:solidFill>
                <a:schemeClr val="tx1"/>
              </a:solidFill>
            </a:endParaRPr>
          </a:p>
        </p:txBody>
      </p:sp>
      <p:sp>
        <p:nvSpPr>
          <p:cNvPr id="53" name="Fünfeck 27">
            <a:extLst>
              <a:ext uri="{FF2B5EF4-FFF2-40B4-BE49-F238E27FC236}">
                <a16:creationId xmlns:a16="http://schemas.microsoft.com/office/drawing/2014/main" id="{6AA80A22-8989-4143-AF37-7FC99F570342}"/>
              </a:ext>
            </a:extLst>
          </p:cNvPr>
          <p:cNvSpPr/>
          <p:nvPr/>
        </p:nvSpPr>
        <p:spPr>
          <a:xfrm>
            <a:off x="1413500" y="3290882"/>
            <a:ext cx="2852738" cy="246145"/>
          </a:xfrm>
          <a:custGeom>
            <a:avLst/>
            <a:gdLst>
              <a:gd name="connsiteX0" fmla="*/ 1 w 1242791"/>
              <a:gd name="connsiteY0" fmla="*/ 82880 h 216982"/>
              <a:gd name="connsiteX1" fmla="*/ 621396 w 1242791"/>
              <a:gd name="connsiteY1" fmla="*/ 0 h 216982"/>
              <a:gd name="connsiteX2" fmla="*/ 1242790 w 1242791"/>
              <a:gd name="connsiteY2" fmla="*/ 82880 h 216982"/>
              <a:gd name="connsiteX3" fmla="*/ 1005438 w 1242791"/>
              <a:gd name="connsiteY3" fmla="*/ 216981 h 216982"/>
              <a:gd name="connsiteX4" fmla="*/ 237353 w 1242791"/>
              <a:gd name="connsiteY4" fmla="*/ 216981 h 216982"/>
              <a:gd name="connsiteX5" fmla="*/ 1 w 1242791"/>
              <a:gd name="connsiteY5" fmla="*/ 82880 h 216982"/>
              <a:gd name="connsiteX0" fmla="*/ 0 w 1547589"/>
              <a:gd name="connsiteY0" fmla="*/ 73355 h 216981"/>
              <a:gd name="connsiteX1" fmla="*/ 926195 w 1547589"/>
              <a:gd name="connsiteY1" fmla="*/ 0 h 216981"/>
              <a:gd name="connsiteX2" fmla="*/ 1547589 w 1547589"/>
              <a:gd name="connsiteY2" fmla="*/ 82880 h 216981"/>
              <a:gd name="connsiteX3" fmla="*/ 1310237 w 1547589"/>
              <a:gd name="connsiteY3" fmla="*/ 216981 h 216981"/>
              <a:gd name="connsiteX4" fmla="*/ 542152 w 1547589"/>
              <a:gd name="connsiteY4" fmla="*/ 216981 h 216981"/>
              <a:gd name="connsiteX5" fmla="*/ 0 w 1547589"/>
              <a:gd name="connsiteY5" fmla="*/ 73355 h 216981"/>
              <a:gd name="connsiteX0" fmla="*/ 0 w 1547589"/>
              <a:gd name="connsiteY0" fmla="*/ 73355 h 216981"/>
              <a:gd name="connsiteX1" fmla="*/ 926195 w 1547589"/>
              <a:gd name="connsiteY1" fmla="*/ 0 h 216981"/>
              <a:gd name="connsiteX2" fmla="*/ 1547589 w 1547589"/>
              <a:gd name="connsiteY2" fmla="*/ 82880 h 216981"/>
              <a:gd name="connsiteX3" fmla="*/ 1310237 w 1547589"/>
              <a:gd name="connsiteY3" fmla="*/ 216981 h 216981"/>
              <a:gd name="connsiteX4" fmla="*/ 158771 w 1547589"/>
              <a:gd name="connsiteY4" fmla="*/ 205075 h 216981"/>
              <a:gd name="connsiteX5" fmla="*/ 0 w 1547589"/>
              <a:gd name="connsiteY5" fmla="*/ 73355 h 216981"/>
              <a:gd name="connsiteX0" fmla="*/ 0 w 1547589"/>
              <a:gd name="connsiteY0" fmla="*/ 101930 h 245556"/>
              <a:gd name="connsiteX1" fmla="*/ 147526 w 1547589"/>
              <a:gd name="connsiteY1" fmla="*/ 0 h 245556"/>
              <a:gd name="connsiteX2" fmla="*/ 1547589 w 1547589"/>
              <a:gd name="connsiteY2" fmla="*/ 111455 h 245556"/>
              <a:gd name="connsiteX3" fmla="*/ 1310237 w 1547589"/>
              <a:gd name="connsiteY3" fmla="*/ 245556 h 245556"/>
              <a:gd name="connsiteX4" fmla="*/ 158771 w 1547589"/>
              <a:gd name="connsiteY4" fmla="*/ 233650 h 245556"/>
              <a:gd name="connsiteX5" fmla="*/ 0 w 1547589"/>
              <a:gd name="connsiteY5" fmla="*/ 101930 h 245556"/>
              <a:gd name="connsiteX0" fmla="*/ 0 w 2559620"/>
              <a:gd name="connsiteY0" fmla="*/ 101930 h 245556"/>
              <a:gd name="connsiteX1" fmla="*/ 147526 w 2559620"/>
              <a:gd name="connsiteY1" fmla="*/ 0 h 245556"/>
              <a:gd name="connsiteX2" fmla="*/ 2559620 w 2559620"/>
              <a:gd name="connsiteY2" fmla="*/ 1917 h 245556"/>
              <a:gd name="connsiteX3" fmla="*/ 1310237 w 2559620"/>
              <a:gd name="connsiteY3" fmla="*/ 245556 h 245556"/>
              <a:gd name="connsiteX4" fmla="*/ 158771 w 2559620"/>
              <a:gd name="connsiteY4" fmla="*/ 233650 h 245556"/>
              <a:gd name="connsiteX5" fmla="*/ 0 w 2559620"/>
              <a:gd name="connsiteY5" fmla="*/ 101930 h 245556"/>
              <a:gd name="connsiteX0" fmla="*/ 0 w 2850906"/>
              <a:gd name="connsiteY0" fmla="*/ 101930 h 236031"/>
              <a:gd name="connsiteX1" fmla="*/ 147526 w 2850906"/>
              <a:gd name="connsiteY1" fmla="*/ 0 h 236031"/>
              <a:gd name="connsiteX2" fmla="*/ 2559620 w 2850906"/>
              <a:gd name="connsiteY2" fmla="*/ 1917 h 236031"/>
              <a:gd name="connsiteX3" fmla="*/ 2850906 w 2850906"/>
              <a:gd name="connsiteY3" fmla="*/ 236031 h 236031"/>
              <a:gd name="connsiteX4" fmla="*/ 158771 w 2850906"/>
              <a:gd name="connsiteY4" fmla="*/ 233650 h 236031"/>
              <a:gd name="connsiteX5" fmla="*/ 0 w 2850906"/>
              <a:gd name="connsiteY5" fmla="*/ 101930 h 236031"/>
              <a:gd name="connsiteX0" fmla="*/ 0 w 2854697"/>
              <a:gd name="connsiteY0" fmla="*/ 101930 h 236031"/>
              <a:gd name="connsiteX1" fmla="*/ 147526 w 2854697"/>
              <a:gd name="connsiteY1" fmla="*/ 0 h 236031"/>
              <a:gd name="connsiteX2" fmla="*/ 2559620 w 2854697"/>
              <a:gd name="connsiteY2" fmla="*/ 1917 h 236031"/>
              <a:gd name="connsiteX3" fmla="*/ 2854697 w 2854697"/>
              <a:gd name="connsiteY3" fmla="*/ 236031 h 236031"/>
              <a:gd name="connsiteX4" fmla="*/ 158771 w 2854697"/>
              <a:gd name="connsiteY4" fmla="*/ 233650 h 236031"/>
              <a:gd name="connsiteX5" fmla="*/ 0 w 2854697"/>
              <a:gd name="connsiteY5" fmla="*/ 101930 h 236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54697" h="236031">
                <a:moveTo>
                  <a:pt x="0" y="101930"/>
                </a:moveTo>
                <a:lnTo>
                  <a:pt x="147526" y="0"/>
                </a:lnTo>
                <a:lnTo>
                  <a:pt x="2559620" y="1917"/>
                </a:lnTo>
                <a:lnTo>
                  <a:pt x="2854697" y="236031"/>
                </a:lnTo>
                <a:lnTo>
                  <a:pt x="158771" y="233650"/>
                </a:lnTo>
                <a:lnTo>
                  <a:pt x="0" y="101930"/>
                </a:lnTo>
                <a:close/>
              </a:path>
            </a:pathLst>
          </a:custGeom>
          <a:solidFill>
            <a:srgbClr val="ABAAAE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err="1">
              <a:solidFill>
                <a:schemeClr val="tx1"/>
              </a:solidFill>
            </a:endParaRPr>
          </a:p>
        </p:txBody>
      </p:sp>
      <p:sp>
        <p:nvSpPr>
          <p:cNvPr id="54" name="Rechteck 12">
            <a:extLst>
              <a:ext uri="{FF2B5EF4-FFF2-40B4-BE49-F238E27FC236}">
                <a16:creationId xmlns:a16="http://schemas.microsoft.com/office/drawing/2014/main" id="{93256020-4395-45E2-81FA-7F87E1E2DEDF}"/>
              </a:ext>
            </a:extLst>
          </p:cNvPr>
          <p:cNvSpPr/>
          <p:nvPr/>
        </p:nvSpPr>
        <p:spPr>
          <a:xfrm rot="18895009">
            <a:off x="1873736" y="5255098"/>
            <a:ext cx="1019770" cy="1004596"/>
          </a:xfrm>
          <a:custGeom>
            <a:avLst/>
            <a:gdLst>
              <a:gd name="connsiteX0" fmla="*/ 0 w 3503596"/>
              <a:gd name="connsiteY0" fmla="*/ 0 h 2850080"/>
              <a:gd name="connsiteX1" fmla="*/ 3503596 w 3503596"/>
              <a:gd name="connsiteY1" fmla="*/ 0 h 2850080"/>
              <a:gd name="connsiteX2" fmla="*/ 3503596 w 3503596"/>
              <a:gd name="connsiteY2" fmla="*/ 2850080 h 2850080"/>
              <a:gd name="connsiteX3" fmla="*/ 0 w 3503596"/>
              <a:gd name="connsiteY3" fmla="*/ 2850080 h 2850080"/>
              <a:gd name="connsiteX4" fmla="*/ 0 w 3503596"/>
              <a:gd name="connsiteY4" fmla="*/ 0 h 2850080"/>
              <a:gd name="connsiteX0" fmla="*/ 0 w 3532471"/>
              <a:gd name="connsiteY0" fmla="*/ 0 h 2850080"/>
              <a:gd name="connsiteX1" fmla="*/ 3532471 w 3532471"/>
              <a:gd name="connsiteY1" fmla="*/ 1953928 h 2850080"/>
              <a:gd name="connsiteX2" fmla="*/ 3503596 w 3532471"/>
              <a:gd name="connsiteY2" fmla="*/ 2850080 h 2850080"/>
              <a:gd name="connsiteX3" fmla="*/ 0 w 3532471"/>
              <a:gd name="connsiteY3" fmla="*/ 2850080 h 2850080"/>
              <a:gd name="connsiteX4" fmla="*/ 0 w 3532471"/>
              <a:gd name="connsiteY4" fmla="*/ 0 h 2850080"/>
              <a:gd name="connsiteX0" fmla="*/ 1155031 w 3532471"/>
              <a:gd name="connsiteY0" fmla="*/ 0 h 2840455"/>
              <a:gd name="connsiteX1" fmla="*/ 3532471 w 3532471"/>
              <a:gd name="connsiteY1" fmla="*/ 1944303 h 2840455"/>
              <a:gd name="connsiteX2" fmla="*/ 3503596 w 3532471"/>
              <a:gd name="connsiteY2" fmla="*/ 2840455 h 2840455"/>
              <a:gd name="connsiteX3" fmla="*/ 0 w 3532471"/>
              <a:gd name="connsiteY3" fmla="*/ 2840455 h 2840455"/>
              <a:gd name="connsiteX4" fmla="*/ 1155031 w 3532471"/>
              <a:gd name="connsiteY4" fmla="*/ 0 h 2840455"/>
              <a:gd name="connsiteX0" fmla="*/ 1164656 w 3542096"/>
              <a:gd name="connsiteY0" fmla="*/ 8623 h 2849078"/>
              <a:gd name="connsiteX1" fmla="*/ 3542096 w 3542096"/>
              <a:gd name="connsiteY1" fmla="*/ 195292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64656 w 3542096"/>
              <a:gd name="connsiteY4" fmla="*/ 8623 h 2849078"/>
              <a:gd name="connsiteX0" fmla="*/ 1164656 w 3542096"/>
              <a:gd name="connsiteY0" fmla="*/ 8623 h 2849078"/>
              <a:gd name="connsiteX1" fmla="*/ 3542096 w 3542096"/>
              <a:gd name="connsiteY1" fmla="*/ 193387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64656 w 3542096"/>
              <a:gd name="connsiteY4" fmla="*/ 8623 h 2849078"/>
              <a:gd name="connsiteX0" fmla="*/ 1177356 w 3542096"/>
              <a:gd name="connsiteY0" fmla="*/ 2273 h 2849078"/>
              <a:gd name="connsiteX1" fmla="*/ 3542096 w 3542096"/>
              <a:gd name="connsiteY1" fmla="*/ 193387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77356 w 3542096"/>
              <a:gd name="connsiteY4" fmla="*/ 2273 h 2849078"/>
              <a:gd name="connsiteX0" fmla="*/ 1202756 w 3567496"/>
              <a:gd name="connsiteY0" fmla="*/ 2273 h 2849078"/>
              <a:gd name="connsiteX1" fmla="*/ 3567496 w 3567496"/>
              <a:gd name="connsiteY1" fmla="*/ 1933876 h 2849078"/>
              <a:gd name="connsiteX2" fmla="*/ 3538621 w 3567496"/>
              <a:gd name="connsiteY2" fmla="*/ 2849078 h 2849078"/>
              <a:gd name="connsiteX3" fmla="*/ 0 w 3567496"/>
              <a:gd name="connsiteY3" fmla="*/ 0 h 2849078"/>
              <a:gd name="connsiteX4" fmla="*/ 1202756 w 3567496"/>
              <a:gd name="connsiteY4" fmla="*/ 2273 h 2849078"/>
              <a:gd name="connsiteX0" fmla="*/ 1202756 w 3579896"/>
              <a:gd name="connsiteY0" fmla="*/ 2273 h 2912578"/>
              <a:gd name="connsiteX1" fmla="*/ 3567496 w 3579896"/>
              <a:gd name="connsiteY1" fmla="*/ 1933876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202756 w 3579896"/>
              <a:gd name="connsiteY4" fmla="*/ 2273 h 2912578"/>
              <a:gd name="connsiteX0" fmla="*/ 1232978 w 3579896"/>
              <a:gd name="connsiteY0" fmla="*/ 46380 h 2912578"/>
              <a:gd name="connsiteX1" fmla="*/ 3567496 w 3579896"/>
              <a:gd name="connsiteY1" fmla="*/ 1933876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232978 w 3579896"/>
              <a:gd name="connsiteY4" fmla="*/ 46380 h 2912578"/>
              <a:gd name="connsiteX0" fmla="*/ 1383249 w 3579896"/>
              <a:gd name="connsiteY0" fmla="*/ 129300 h 2912578"/>
              <a:gd name="connsiteX1" fmla="*/ 3567496 w 3579896"/>
              <a:gd name="connsiteY1" fmla="*/ 1933876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383249 w 3579896"/>
              <a:gd name="connsiteY4" fmla="*/ 129300 h 2912578"/>
              <a:gd name="connsiteX0" fmla="*/ 1383249 w 3579896"/>
              <a:gd name="connsiteY0" fmla="*/ 129300 h 2912578"/>
              <a:gd name="connsiteX1" fmla="*/ 3423001 w 3579896"/>
              <a:gd name="connsiteY1" fmla="*/ 1816535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383249 w 3579896"/>
              <a:gd name="connsiteY4" fmla="*/ 129300 h 2912578"/>
              <a:gd name="connsiteX0" fmla="*/ 1383249 w 3579896"/>
              <a:gd name="connsiteY0" fmla="*/ 129300 h 2912578"/>
              <a:gd name="connsiteX1" fmla="*/ 3434980 w 3579896"/>
              <a:gd name="connsiteY1" fmla="*/ 1816485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383249 w 3579896"/>
              <a:gd name="connsiteY4" fmla="*/ 129300 h 2912578"/>
              <a:gd name="connsiteX0" fmla="*/ 1425636 w 3579896"/>
              <a:gd name="connsiteY0" fmla="*/ 202841 h 2912578"/>
              <a:gd name="connsiteX1" fmla="*/ 3434980 w 3579896"/>
              <a:gd name="connsiteY1" fmla="*/ 1816485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425636 w 3579896"/>
              <a:gd name="connsiteY4" fmla="*/ 202841 h 2912578"/>
              <a:gd name="connsiteX0" fmla="*/ 1383315 w 3579896"/>
              <a:gd name="connsiteY0" fmla="*/ 139132 h 2912578"/>
              <a:gd name="connsiteX1" fmla="*/ 3434980 w 3579896"/>
              <a:gd name="connsiteY1" fmla="*/ 1816485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383315 w 3579896"/>
              <a:gd name="connsiteY4" fmla="*/ 139132 h 2912578"/>
              <a:gd name="connsiteX0" fmla="*/ 1191507 w 3388088"/>
              <a:gd name="connsiteY0" fmla="*/ 120275 h 2893721"/>
              <a:gd name="connsiteX1" fmla="*/ 3243172 w 3388088"/>
              <a:gd name="connsiteY1" fmla="*/ 1797628 h 2893721"/>
              <a:gd name="connsiteX2" fmla="*/ 3388088 w 3388088"/>
              <a:gd name="connsiteY2" fmla="*/ 2893721 h 2893721"/>
              <a:gd name="connsiteX3" fmla="*/ 1 w 3388088"/>
              <a:gd name="connsiteY3" fmla="*/ 1 h 2893721"/>
              <a:gd name="connsiteX4" fmla="*/ 1191507 w 3388088"/>
              <a:gd name="connsiteY4" fmla="*/ 120275 h 2893721"/>
              <a:gd name="connsiteX0" fmla="*/ 1401381 w 3597962"/>
              <a:gd name="connsiteY0" fmla="*/ 153801 h 2927247"/>
              <a:gd name="connsiteX1" fmla="*/ 3453046 w 3597962"/>
              <a:gd name="connsiteY1" fmla="*/ 1831154 h 2927247"/>
              <a:gd name="connsiteX2" fmla="*/ 3597962 w 3597962"/>
              <a:gd name="connsiteY2" fmla="*/ 2927247 h 2927247"/>
              <a:gd name="connsiteX3" fmla="*/ 2 w 3597962"/>
              <a:gd name="connsiteY3" fmla="*/ -1 h 2927247"/>
              <a:gd name="connsiteX4" fmla="*/ 1401381 w 3597962"/>
              <a:gd name="connsiteY4" fmla="*/ 153801 h 2927247"/>
              <a:gd name="connsiteX0" fmla="*/ 1413299 w 3609880"/>
              <a:gd name="connsiteY0" fmla="*/ 143921 h 2917367"/>
              <a:gd name="connsiteX1" fmla="*/ 3464964 w 3609880"/>
              <a:gd name="connsiteY1" fmla="*/ 1821274 h 2917367"/>
              <a:gd name="connsiteX2" fmla="*/ 3609880 w 3609880"/>
              <a:gd name="connsiteY2" fmla="*/ 2917367 h 2917367"/>
              <a:gd name="connsiteX3" fmla="*/ 0 w 3609880"/>
              <a:gd name="connsiteY3" fmla="*/ -1 h 2917367"/>
              <a:gd name="connsiteX4" fmla="*/ 1413299 w 3609880"/>
              <a:gd name="connsiteY4" fmla="*/ 143921 h 2917367"/>
              <a:gd name="connsiteX0" fmla="*/ 1395236 w 3609880"/>
              <a:gd name="connsiteY0" fmla="*/ 129252 h 2917367"/>
              <a:gd name="connsiteX1" fmla="*/ 3464964 w 3609880"/>
              <a:gd name="connsiteY1" fmla="*/ 1821274 h 2917367"/>
              <a:gd name="connsiteX2" fmla="*/ 3609880 w 3609880"/>
              <a:gd name="connsiteY2" fmla="*/ 2917367 h 2917367"/>
              <a:gd name="connsiteX3" fmla="*/ 0 w 3609880"/>
              <a:gd name="connsiteY3" fmla="*/ -1 h 2917367"/>
              <a:gd name="connsiteX4" fmla="*/ 1395236 w 3609880"/>
              <a:gd name="connsiteY4" fmla="*/ 129252 h 2917367"/>
              <a:gd name="connsiteX0" fmla="*/ 1413294 w 3627938"/>
              <a:gd name="connsiteY0" fmla="*/ 143918 h 2932033"/>
              <a:gd name="connsiteX1" fmla="*/ 3483022 w 3627938"/>
              <a:gd name="connsiteY1" fmla="*/ 1835940 h 2932033"/>
              <a:gd name="connsiteX2" fmla="*/ 3627938 w 3627938"/>
              <a:gd name="connsiteY2" fmla="*/ 2932033 h 2932033"/>
              <a:gd name="connsiteX3" fmla="*/ 0 w 3627938"/>
              <a:gd name="connsiteY3" fmla="*/ -1 h 2932033"/>
              <a:gd name="connsiteX4" fmla="*/ 1413294 w 3627938"/>
              <a:gd name="connsiteY4" fmla="*/ 143918 h 2932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27938" h="2932033">
                <a:moveTo>
                  <a:pt x="1413294" y="143918"/>
                </a:moveTo>
                <a:lnTo>
                  <a:pt x="3483022" y="1835940"/>
                </a:lnTo>
                <a:lnTo>
                  <a:pt x="3627938" y="2932033"/>
                </a:lnTo>
                <a:lnTo>
                  <a:pt x="0" y="-1"/>
                </a:lnTo>
                <a:lnTo>
                  <a:pt x="1413294" y="14391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err="1">
              <a:solidFill>
                <a:schemeClr val="tx1"/>
              </a:solidFill>
            </a:endParaRPr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2FD15537-38D7-41C5-B0DC-988AD7D2D3DF}"/>
              </a:ext>
            </a:extLst>
          </p:cNvPr>
          <p:cNvSpPr txBox="1"/>
          <p:nvPr/>
        </p:nvSpPr>
        <p:spPr>
          <a:xfrm>
            <a:off x="1034697" y="3275486"/>
            <a:ext cx="367551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>
              <a:defRPr b="1">
                <a:solidFill>
                  <a:srgbClr val="336699"/>
                </a:solidFill>
              </a:defRPr>
            </a:lvl1pPr>
          </a:lstStyle>
          <a:p>
            <a:pPr algn="ctr" defTabSz="625475">
              <a:tabLst>
                <a:tab pos="808038" algn="l"/>
              </a:tabLst>
            </a:pPr>
            <a:r>
              <a:rPr lang="de-DE">
                <a:solidFill>
                  <a:schemeClr val="accent2">
                    <a:lumMod val="50000"/>
                  </a:schemeClr>
                </a:solidFill>
              </a:rPr>
              <a:t>schnell</a:t>
            </a: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FF34EFD1-3631-4F7E-B4A8-A82153C3A0C9}"/>
              </a:ext>
            </a:extLst>
          </p:cNvPr>
          <p:cNvSpPr txBox="1"/>
          <p:nvPr/>
        </p:nvSpPr>
        <p:spPr>
          <a:xfrm>
            <a:off x="2108975" y="3717539"/>
            <a:ext cx="222343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b="1">
                <a:solidFill>
                  <a:schemeClr val="accent2">
                    <a:lumMod val="50000"/>
                  </a:schemeClr>
                </a:solidFill>
              </a:rPr>
              <a:t>       einfach</a:t>
            </a:r>
            <a:endParaRPr lang="de-DE">
              <a:solidFill>
                <a:schemeClr val="accent2">
                  <a:lumMod val="50000"/>
                </a:schemeClr>
              </a:solidFill>
            </a:endParaRPr>
          </a:p>
          <a:p>
            <a:endParaRPr lang="de-DE" err="1">
              <a:solidFill>
                <a:schemeClr val="accent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4782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platzhalter 11">
            <a:extLst>
              <a:ext uri="{FF2B5EF4-FFF2-40B4-BE49-F238E27FC236}">
                <a16:creationId xmlns:a16="http://schemas.microsoft.com/office/drawing/2014/main" id="{D40AD0B0-9CC1-4018-B943-9E30BBAEF5C4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48" r="2293"/>
          <a:stretch/>
        </p:blipFill>
        <p:spPr>
          <a:xfrm>
            <a:off x="5218495" y="1015999"/>
            <a:ext cx="6976680" cy="4810125"/>
          </a:xfrm>
        </p:spPr>
      </p:pic>
      <p:sp>
        <p:nvSpPr>
          <p:cNvPr id="15" name="Titel 14">
            <a:extLst>
              <a:ext uri="{FF2B5EF4-FFF2-40B4-BE49-F238E27FC236}">
                <a16:creationId xmlns:a16="http://schemas.microsoft.com/office/drawing/2014/main" id="{C02B614D-3131-4331-BC16-BED8C08407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38" name="Titel 1">
            <a:extLst>
              <a:ext uri="{FF2B5EF4-FFF2-40B4-BE49-F238E27FC236}">
                <a16:creationId xmlns:a16="http://schemas.microsoft.com/office/drawing/2014/main" id="{C8714415-4C2C-42BC-BC1E-AC41DABCF443}"/>
              </a:ext>
            </a:extLst>
          </p:cNvPr>
          <p:cNvSpPr txBox="1">
            <a:spLocks/>
          </p:cNvSpPr>
          <p:nvPr/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 defTabSz="109609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77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/>
              <a:t>Einleitung</a:t>
            </a:r>
          </a:p>
        </p:txBody>
      </p:sp>
      <p:sp>
        <p:nvSpPr>
          <p:cNvPr id="39" name="textBoxChapter">
            <a:extLst>
              <a:ext uri="{FF2B5EF4-FFF2-40B4-BE49-F238E27FC236}">
                <a16:creationId xmlns:a16="http://schemas.microsoft.com/office/drawing/2014/main" id="{29013047-D6BB-4374-B1FA-4E0CA15DA0FB}"/>
              </a:ext>
            </a:extLst>
          </p:cNvPr>
          <p:cNvSpPr txBox="1"/>
          <p:nvPr/>
        </p:nvSpPr>
        <p:spPr>
          <a:xfrm>
            <a:off x="2609314" y="6454379"/>
            <a:ext cx="6973372" cy="37110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inleitung</a:t>
            </a:r>
            <a:endParaRPr kumimoji="0" lang="de-DE" sz="167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ewsGoth for Porsche Com" panose="020B0506020203020204" pitchFamily="34" charset="0"/>
              <a:ea typeface="+mn-ea"/>
              <a:cs typeface="+mn-cs"/>
            </a:endParaRPr>
          </a:p>
        </p:txBody>
      </p:sp>
      <p:sp>
        <p:nvSpPr>
          <p:cNvPr id="43" name="Rechteck 12">
            <a:extLst>
              <a:ext uri="{FF2B5EF4-FFF2-40B4-BE49-F238E27FC236}">
                <a16:creationId xmlns:a16="http://schemas.microsoft.com/office/drawing/2014/main" id="{AB078D61-6F03-40D3-8B31-C3680FED2E2D}"/>
              </a:ext>
            </a:extLst>
          </p:cNvPr>
          <p:cNvSpPr/>
          <p:nvPr/>
        </p:nvSpPr>
        <p:spPr>
          <a:xfrm rot="6255615">
            <a:off x="1405137" y="3175698"/>
            <a:ext cx="3050358" cy="3136496"/>
          </a:xfrm>
          <a:custGeom>
            <a:avLst/>
            <a:gdLst>
              <a:gd name="connsiteX0" fmla="*/ 0 w 3503596"/>
              <a:gd name="connsiteY0" fmla="*/ 0 h 2850080"/>
              <a:gd name="connsiteX1" fmla="*/ 3503596 w 3503596"/>
              <a:gd name="connsiteY1" fmla="*/ 0 h 2850080"/>
              <a:gd name="connsiteX2" fmla="*/ 3503596 w 3503596"/>
              <a:gd name="connsiteY2" fmla="*/ 2850080 h 2850080"/>
              <a:gd name="connsiteX3" fmla="*/ 0 w 3503596"/>
              <a:gd name="connsiteY3" fmla="*/ 2850080 h 2850080"/>
              <a:gd name="connsiteX4" fmla="*/ 0 w 3503596"/>
              <a:gd name="connsiteY4" fmla="*/ 0 h 2850080"/>
              <a:gd name="connsiteX0" fmla="*/ 0 w 3532471"/>
              <a:gd name="connsiteY0" fmla="*/ 0 h 2850080"/>
              <a:gd name="connsiteX1" fmla="*/ 3532471 w 3532471"/>
              <a:gd name="connsiteY1" fmla="*/ 1953928 h 2850080"/>
              <a:gd name="connsiteX2" fmla="*/ 3503596 w 3532471"/>
              <a:gd name="connsiteY2" fmla="*/ 2850080 h 2850080"/>
              <a:gd name="connsiteX3" fmla="*/ 0 w 3532471"/>
              <a:gd name="connsiteY3" fmla="*/ 2850080 h 2850080"/>
              <a:gd name="connsiteX4" fmla="*/ 0 w 3532471"/>
              <a:gd name="connsiteY4" fmla="*/ 0 h 2850080"/>
              <a:gd name="connsiteX0" fmla="*/ 1155031 w 3532471"/>
              <a:gd name="connsiteY0" fmla="*/ 0 h 2840455"/>
              <a:gd name="connsiteX1" fmla="*/ 3532471 w 3532471"/>
              <a:gd name="connsiteY1" fmla="*/ 1944303 h 2840455"/>
              <a:gd name="connsiteX2" fmla="*/ 3503596 w 3532471"/>
              <a:gd name="connsiteY2" fmla="*/ 2840455 h 2840455"/>
              <a:gd name="connsiteX3" fmla="*/ 0 w 3532471"/>
              <a:gd name="connsiteY3" fmla="*/ 2840455 h 2840455"/>
              <a:gd name="connsiteX4" fmla="*/ 1155031 w 3532471"/>
              <a:gd name="connsiteY4" fmla="*/ 0 h 2840455"/>
              <a:gd name="connsiteX0" fmla="*/ 1164656 w 3542096"/>
              <a:gd name="connsiteY0" fmla="*/ 8623 h 2849078"/>
              <a:gd name="connsiteX1" fmla="*/ 3542096 w 3542096"/>
              <a:gd name="connsiteY1" fmla="*/ 195292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64656 w 3542096"/>
              <a:gd name="connsiteY4" fmla="*/ 8623 h 2849078"/>
              <a:gd name="connsiteX0" fmla="*/ 1164656 w 3542096"/>
              <a:gd name="connsiteY0" fmla="*/ 8623 h 2849078"/>
              <a:gd name="connsiteX1" fmla="*/ 3542096 w 3542096"/>
              <a:gd name="connsiteY1" fmla="*/ 193387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64656 w 3542096"/>
              <a:gd name="connsiteY4" fmla="*/ 8623 h 2849078"/>
              <a:gd name="connsiteX0" fmla="*/ 1177356 w 3542096"/>
              <a:gd name="connsiteY0" fmla="*/ 2273 h 2849078"/>
              <a:gd name="connsiteX1" fmla="*/ 3542096 w 3542096"/>
              <a:gd name="connsiteY1" fmla="*/ 193387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77356 w 3542096"/>
              <a:gd name="connsiteY4" fmla="*/ 2273 h 2849078"/>
              <a:gd name="connsiteX0" fmla="*/ 1202756 w 3567496"/>
              <a:gd name="connsiteY0" fmla="*/ 2273 h 2849078"/>
              <a:gd name="connsiteX1" fmla="*/ 3567496 w 3567496"/>
              <a:gd name="connsiteY1" fmla="*/ 1933876 h 2849078"/>
              <a:gd name="connsiteX2" fmla="*/ 3538621 w 3567496"/>
              <a:gd name="connsiteY2" fmla="*/ 2849078 h 2849078"/>
              <a:gd name="connsiteX3" fmla="*/ 0 w 3567496"/>
              <a:gd name="connsiteY3" fmla="*/ 0 h 2849078"/>
              <a:gd name="connsiteX4" fmla="*/ 1202756 w 3567496"/>
              <a:gd name="connsiteY4" fmla="*/ 2273 h 2849078"/>
              <a:gd name="connsiteX0" fmla="*/ 1202756 w 3579896"/>
              <a:gd name="connsiteY0" fmla="*/ 2273 h 2912578"/>
              <a:gd name="connsiteX1" fmla="*/ 3567496 w 3579896"/>
              <a:gd name="connsiteY1" fmla="*/ 1933876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202756 w 3579896"/>
              <a:gd name="connsiteY4" fmla="*/ 2273 h 2912578"/>
              <a:gd name="connsiteX0" fmla="*/ 1202756 w 3852899"/>
              <a:gd name="connsiteY0" fmla="*/ 2273 h 3018705"/>
              <a:gd name="connsiteX1" fmla="*/ 3567496 w 3852899"/>
              <a:gd name="connsiteY1" fmla="*/ 1933876 h 3018705"/>
              <a:gd name="connsiteX2" fmla="*/ 3852899 w 3852899"/>
              <a:gd name="connsiteY2" fmla="*/ 3018705 h 3018705"/>
              <a:gd name="connsiteX3" fmla="*/ 0 w 3852899"/>
              <a:gd name="connsiteY3" fmla="*/ 0 h 3018705"/>
              <a:gd name="connsiteX4" fmla="*/ 1202756 w 3852899"/>
              <a:gd name="connsiteY4" fmla="*/ 2273 h 3018705"/>
              <a:gd name="connsiteX0" fmla="*/ 897159 w 3852899"/>
              <a:gd name="connsiteY0" fmla="*/ 0 h 3272312"/>
              <a:gd name="connsiteX1" fmla="*/ 3567496 w 3852899"/>
              <a:gd name="connsiteY1" fmla="*/ 2187483 h 3272312"/>
              <a:gd name="connsiteX2" fmla="*/ 3852899 w 3852899"/>
              <a:gd name="connsiteY2" fmla="*/ 3272312 h 3272312"/>
              <a:gd name="connsiteX3" fmla="*/ 0 w 3852899"/>
              <a:gd name="connsiteY3" fmla="*/ 253607 h 3272312"/>
              <a:gd name="connsiteX4" fmla="*/ 897159 w 3852899"/>
              <a:gd name="connsiteY4" fmla="*/ 0 h 3272312"/>
              <a:gd name="connsiteX0" fmla="*/ 290026 w 3245766"/>
              <a:gd name="connsiteY0" fmla="*/ 0 h 3272312"/>
              <a:gd name="connsiteX1" fmla="*/ 2960363 w 3245766"/>
              <a:gd name="connsiteY1" fmla="*/ 2187483 h 3272312"/>
              <a:gd name="connsiteX2" fmla="*/ 3245766 w 3245766"/>
              <a:gd name="connsiteY2" fmla="*/ 3272312 h 3272312"/>
              <a:gd name="connsiteX3" fmla="*/ 0 w 3245766"/>
              <a:gd name="connsiteY3" fmla="*/ 694666 h 3272312"/>
              <a:gd name="connsiteX4" fmla="*/ 290026 w 3245766"/>
              <a:gd name="connsiteY4" fmla="*/ 0 h 3272312"/>
              <a:gd name="connsiteX0" fmla="*/ 232025 w 3187765"/>
              <a:gd name="connsiteY0" fmla="*/ 0 h 3272312"/>
              <a:gd name="connsiteX1" fmla="*/ 2902362 w 3187765"/>
              <a:gd name="connsiteY1" fmla="*/ 2187483 h 3272312"/>
              <a:gd name="connsiteX2" fmla="*/ 3187765 w 3187765"/>
              <a:gd name="connsiteY2" fmla="*/ 3272312 h 3272312"/>
              <a:gd name="connsiteX3" fmla="*/ 0 w 3187765"/>
              <a:gd name="connsiteY3" fmla="*/ 680515 h 3272312"/>
              <a:gd name="connsiteX4" fmla="*/ 232025 w 3187765"/>
              <a:gd name="connsiteY4" fmla="*/ 0 h 3272312"/>
              <a:gd name="connsiteX0" fmla="*/ 239390 w 3195130"/>
              <a:gd name="connsiteY0" fmla="*/ 0 h 3272312"/>
              <a:gd name="connsiteX1" fmla="*/ 2909727 w 3195130"/>
              <a:gd name="connsiteY1" fmla="*/ 2187483 h 3272312"/>
              <a:gd name="connsiteX2" fmla="*/ 3195130 w 3195130"/>
              <a:gd name="connsiteY2" fmla="*/ 3272312 h 3272312"/>
              <a:gd name="connsiteX3" fmla="*/ 0 w 3195130"/>
              <a:gd name="connsiteY3" fmla="*/ 569693 h 3272312"/>
              <a:gd name="connsiteX4" fmla="*/ 239390 w 3195130"/>
              <a:gd name="connsiteY4" fmla="*/ 0 h 3272312"/>
              <a:gd name="connsiteX0" fmla="*/ 242692 w 3195130"/>
              <a:gd name="connsiteY0" fmla="*/ 0 h 3259574"/>
              <a:gd name="connsiteX1" fmla="*/ 2909727 w 3195130"/>
              <a:gd name="connsiteY1" fmla="*/ 2174745 h 3259574"/>
              <a:gd name="connsiteX2" fmla="*/ 3195130 w 3195130"/>
              <a:gd name="connsiteY2" fmla="*/ 3259574 h 3259574"/>
              <a:gd name="connsiteX3" fmla="*/ 0 w 3195130"/>
              <a:gd name="connsiteY3" fmla="*/ 556955 h 3259574"/>
              <a:gd name="connsiteX4" fmla="*/ 242692 w 3195130"/>
              <a:gd name="connsiteY4" fmla="*/ 0 h 3259574"/>
              <a:gd name="connsiteX0" fmla="*/ 281455 w 3233893"/>
              <a:gd name="connsiteY0" fmla="*/ 0 h 3259574"/>
              <a:gd name="connsiteX1" fmla="*/ 2948490 w 3233893"/>
              <a:gd name="connsiteY1" fmla="*/ 2174745 h 3259574"/>
              <a:gd name="connsiteX2" fmla="*/ 3233893 w 3233893"/>
              <a:gd name="connsiteY2" fmla="*/ 3259574 h 3259574"/>
              <a:gd name="connsiteX3" fmla="*/ 0 w 3233893"/>
              <a:gd name="connsiteY3" fmla="*/ 620861 h 3259574"/>
              <a:gd name="connsiteX4" fmla="*/ 281455 w 3233893"/>
              <a:gd name="connsiteY4" fmla="*/ 0 h 3259574"/>
              <a:gd name="connsiteX0" fmla="*/ 281455 w 3233893"/>
              <a:gd name="connsiteY0" fmla="*/ 0 h 3259574"/>
              <a:gd name="connsiteX1" fmla="*/ 2989107 w 3233893"/>
              <a:gd name="connsiteY1" fmla="*/ 2371439 h 3259574"/>
              <a:gd name="connsiteX2" fmla="*/ 3233893 w 3233893"/>
              <a:gd name="connsiteY2" fmla="*/ 3259574 h 3259574"/>
              <a:gd name="connsiteX3" fmla="*/ 0 w 3233893"/>
              <a:gd name="connsiteY3" fmla="*/ 620861 h 3259574"/>
              <a:gd name="connsiteX4" fmla="*/ 281455 w 3233893"/>
              <a:gd name="connsiteY4" fmla="*/ 0 h 3259574"/>
              <a:gd name="connsiteX0" fmla="*/ 281455 w 3233893"/>
              <a:gd name="connsiteY0" fmla="*/ 0 h 3259574"/>
              <a:gd name="connsiteX1" fmla="*/ 2945189 w 3233893"/>
              <a:gd name="connsiteY1" fmla="*/ 2162007 h 3259574"/>
              <a:gd name="connsiteX2" fmla="*/ 3233893 w 3233893"/>
              <a:gd name="connsiteY2" fmla="*/ 3259574 h 3259574"/>
              <a:gd name="connsiteX3" fmla="*/ 0 w 3233893"/>
              <a:gd name="connsiteY3" fmla="*/ 620861 h 3259574"/>
              <a:gd name="connsiteX4" fmla="*/ 281455 w 3233893"/>
              <a:gd name="connsiteY4" fmla="*/ 0 h 3259574"/>
              <a:gd name="connsiteX0" fmla="*/ 281455 w 3164098"/>
              <a:gd name="connsiteY0" fmla="*/ 0 h 3083714"/>
              <a:gd name="connsiteX1" fmla="*/ 2945189 w 3164098"/>
              <a:gd name="connsiteY1" fmla="*/ 2162007 h 3083714"/>
              <a:gd name="connsiteX2" fmla="*/ 3164097 w 3164098"/>
              <a:gd name="connsiteY2" fmla="*/ 3083714 h 3083714"/>
              <a:gd name="connsiteX3" fmla="*/ 0 w 3164098"/>
              <a:gd name="connsiteY3" fmla="*/ 620861 h 3083714"/>
              <a:gd name="connsiteX4" fmla="*/ 281455 w 3164098"/>
              <a:gd name="connsiteY4" fmla="*/ 0 h 3083714"/>
              <a:gd name="connsiteX0" fmla="*/ 281455 w 3220019"/>
              <a:gd name="connsiteY0" fmla="*/ 0 h 3246079"/>
              <a:gd name="connsiteX1" fmla="*/ 2945189 w 3220019"/>
              <a:gd name="connsiteY1" fmla="*/ 2162007 h 3246079"/>
              <a:gd name="connsiteX2" fmla="*/ 3220020 w 3220019"/>
              <a:gd name="connsiteY2" fmla="*/ 3246079 h 3246079"/>
              <a:gd name="connsiteX3" fmla="*/ 0 w 3220019"/>
              <a:gd name="connsiteY3" fmla="*/ 620861 h 3246079"/>
              <a:gd name="connsiteX4" fmla="*/ 281455 w 3220019"/>
              <a:gd name="connsiteY4" fmla="*/ 0 h 3246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20019" h="3246079">
                <a:moveTo>
                  <a:pt x="281455" y="0"/>
                </a:moveTo>
                <a:lnTo>
                  <a:pt x="2945189" y="2162007"/>
                </a:lnTo>
                <a:lnTo>
                  <a:pt x="3220020" y="3246079"/>
                </a:lnTo>
                <a:lnTo>
                  <a:pt x="0" y="620861"/>
                </a:lnTo>
                <a:lnTo>
                  <a:pt x="281455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err="1">
              <a:solidFill>
                <a:schemeClr val="tx1"/>
              </a:solidFill>
            </a:endParaRPr>
          </a:p>
        </p:txBody>
      </p:sp>
      <p:sp>
        <p:nvSpPr>
          <p:cNvPr id="44" name="Rechteck 12">
            <a:extLst>
              <a:ext uri="{FF2B5EF4-FFF2-40B4-BE49-F238E27FC236}">
                <a16:creationId xmlns:a16="http://schemas.microsoft.com/office/drawing/2014/main" id="{B0FADD83-ADE4-45E2-BA93-80BF8CA85162}"/>
              </a:ext>
            </a:extLst>
          </p:cNvPr>
          <p:cNvSpPr/>
          <p:nvPr/>
        </p:nvSpPr>
        <p:spPr>
          <a:xfrm rot="8117421">
            <a:off x="2176135" y="2922400"/>
            <a:ext cx="1659343" cy="1639382"/>
          </a:xfrm>
          <a:custGeom>
            <a:avLst/>
            <a:gdLst>
              <a:gd name="connsiteX0" fmla="*/ 0 w 3503596"/>
              <a:gd name="connsiteY0" fmla="*/ 0 h 2850080"/>
              <a:gd name="connsiteX1" fmla="*/ 3503596 w 3503596"/>
              <a:gd name="connsiteY1" fmla="*/ 0 h 2850080"/>
              <a:gd name="connsiteX2" fmla="*/ 3503596 w 3503596"/>
              <a:gd name="connsiteY2" fmla="*/ 2850080 h 2850080"/>
              <a:gd name="connsiteX3" fmla="*/ 0 w 3503596"/>
              <a:gd name="connsiteY3" fmla="*/ 2850080 h 2850080"/>
              <a:gd name="connsiteX4" fmla="*/ 0 w 3503596"/>
              <a:gd name="connsiteY4" fmla="*/ 0 h 2850080"/>
              <a:gd name="connsiteX0" fmla="*/ 0 w 3532471"/>
              <a:gd name="connsiteY0" fmla="*/ 0 h 2850080"/>
              <a:gd name="connsiteX1" fmla="*/ 3532471 w 3532471"/>
              <a:gd name="connsiteY1" fmla="*/ 1953928 h 2850080"/>
              <a:gd name="connsiteX2" fmla="*/ 3503596 w 3532471"/>
              <a:gd name="connsiteY2" fmla="*/ 2850080 h 2850080"/>
              <a:gd name="connsiteX3" fmla="*/ 0 w 3532471"/>
              <a:gd name="connsiteY3" fmla="*/ 2850080 h 2850080"/>
              <a:gd name="connsiteX4" fmla="*/ 0 w 3532471"/>
              <a:gd name="connsiteY4" fmla="*/ 0 h 2850080"/>
              <a:gd name="connsiteX0" fmla="*/ 1155031 w 3532471"/>
              <a:gd name="connsiteY0" fmla="*/ 0 h 2840455"/>
              <a:gd name="connsiteX1" fmla="*/ 3532471 w 3532471"/>
              <a:gd name="connsiteY1" fmla="*/ 1944303 h 2840455"/>
              <a:gd name="connsiteX2" fmla="*/ 3503596 w 3532471"/>
              <a:gd name="connsiteY2" fmla="*/ 2840455 h 2840455"/>
              <a:gd name="connsiteX3" fmla="*/ 0 w 3532471"/>
              <a:gd name="connsiteY3" fmla="*/ 2840455 h 2840455"/>
              <a:gd name="connsiteX4" fmla="*/ 1155031 w 3532471"/>
              <a:gd name="connsiteY4" fmla="*/ 0 h 2840455"/>
              <a:gd name="connsiteX0" fmla="*/ 1164656 w 3542096"/>
              <a:gd name="connsiteY0" fmla="*/ 8623 h 2849078"/>
              <a:gd name="connsiteX1" fmla="*/ 3542096 w 3542096"/>
              <a:gd name="connsiteY1" fmla="*/ 195292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64656 w 3542096"/>
              <a:gd name="connsiteY4" fmla="*/ 8623 h 2849078"/>
              <a:gd name="connsiteX0" fmla="*/ 1164656 w 3542096"/>
              <a:gd name="connsiteY0" fmla="*/ 8623 h 2849078"/>
              <a:gd name="connsiteX1" fmla="*/ 3542096 w 3542096"/>
              <a:gd name="connsiteY1" fmla="*/ 193387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64656 w 3542096"/>
              <a:gd name="connsiteY4" fmla="*/ 8623 h 2849078"/>
              <a:gd name="connsiteX0" fmla="*/ 1177356 w 3542096"/>
              <a:gd name="connsiteY0" fmla="*/ 2273 h 2849078"/>
              <a:gd name="connsiteX1" fmla="*/ 3542096 w 3542096"/>
              <a:gd name="connsiteY1" fmla="*/ 193387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77356 w 3542096"/>
              <a:gd name="connsiteY4" fmla="*/ 2273 h 2849078"/>
              <a:gd name="connsiteX0" fmla="*/ 1202756 w 3567496"/>
              <a:gd name="connsiteY0" fmla="*/ 2273 h 2849078"/>
              <a:gd name="connsiteX1" fmla="*/ 3567496 w 3567496"/>
              <a:gd name="connsiteY1" fmla="*/ 1933876 h 2849078"/>
              <a:gd name="connsiteX2" fmla="*/ 3538621 w 3567496"/>
              <a:gd name="connsiteY2" fmla="*/ 2849078 h 2849078"/>
              <a:gd name="connsiteX3" fmla="*/ 0 w 3567496"/>
              <a:gd name="connsiteY3" fmla="*/ 0 h 2849078"/>
              <a:gd name="connsiteX4" fmla="*/ 1202756 w 3567496"/>
              <a:gd name="connsiteY4" fmla="*/ 2273 h 2849078"/>
              <a:gd name="connsiteX0" fmla="*/ 1202756 w 3579896"/>
              <a:gd name="connsiteY0" fmla="*/ 2273 h 2912578"/>
              <a:gd name="connsiteX1" fmla="*/ 3567496 w 3579896"/>
              <a:gd name="connsiteY1" fmla="*/ 1933876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202756 w 3579896"/>
              <a:gd name="connsiteY4" fmla="*/ 2273 h 2912578"/>
              <a:gd name="connsiteX0" fmla="*/ 1232978 w 3579896"/>
              <a:gd name="connsiteY0" fmla="*/ 46380 h 2912578"/>
              <a:gd name="connsiteX1" fmla="*/ 3567496 w 3579896"/>
              <a:gd name="connsiteY1" fmla="*/ 1933876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232978 w 3579896"/>
              <a:gd name="connsiteY4" fmla="*/ 46380 h 2912578"/>
              <a:gd name="connsiteX0" fmla="*/ 1383249 w 3579896"/>
              <a:gd name="connsiteY0" fmla="*/ 129300 h 2912578"/>
              <a:gd name="connsiteX1" fmla="*/ 3567496 w 3579896"/>
              <a:gd name="connsiteY1" fmla="*/ 1933876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383249 w 3579896"/>
              <a:gd name="connsiteY4" fmla="*/ 129300 h 2912578"/>
              <a:gd name="connsiteX0" fmla="*/ 1383249 w 3579896"/>
              <a:gd name="connsiteY0" fmla="*/ 129300 h 2912578"/>
              <a:gd name="connsiteX1" fmla="*/ 3423001 w 3579896"/>
              <a:gd name="connsiteY1" fmla="*/ 1816535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383249 w 3579896"/>
              <a:gd name="connsiteY4" fmla="*/ 129300 h 2912578"/>
              <a:gd name="connsiteX0" fmla="*/ 1383249 w 3579896"/>
              <a:gd name="connsiteY0" fmla="*/ 129300 h 2912578"/>
              <a:gd name="connsiteX1" fmla="*/ 3434980 w 3579896"/>
              <a:gd name="connsiteY1" fmla="*/ 1816485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383249 w 3579896"/>
              <a:gd name="connsiteY4" fmla="*/ 129300 h 2912578"/>
              <a:gd name="connsiteX0" fmla="*/ 1425636 w 3579896"/>
              <a:gd name="connsiteY0" fmla="*/ 202841 h 2912578"/>
              <a:gd name="connsiteX1" fmla="*/ 3434980 w 3579896"/>
              <a:gd name="connsiteY1" fmla="*/ 1816485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425636 w 3579896"/>
              <a:gd name="connsiteY4" fmla="*/ 202841 h 2912578"/>
              <a:gd name="connsiteX0" fmla="*/ 1383315 w 3579896"/>
              <a:gd name="connsiteY0" fmla="*/ 139132 h 2912578"/>
              <a:gd name="connsiteX1" fmla="*/ 3434980 w 3579896"/>
              <a:gd name="connsiteY1" fmla="*/ 1816485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383315 w 3579896"/>
              <a:gd name="connsiteY4" fmla="*/ 139132 h 2912578"/>
              <a:gd name="connsiteX0" fmla="*/ 1191507 w 3388088"/>
              <a:gd name="connsiteY0" fmla="*/ 120275 h 2893721"/>
              <a:gd name="connsiteX1" fmla="*/ 3243172 w 3388088"/>
              <a:gd name="connsiteY1" fmla="*/ 1797628 h 2893721"/>
              <a:gd name="connsiteX2" fmla="*/ 3388088 w 3388088"/>
              <a:gd name="connsiteY2" fmla="*/ 2893721 h 2893721"/>
              <a:gd name="connsiteX3" fmla="*/ 1 w 3388088"/>
              <a:gd name="connsiteY3" fmla="*/ 1 h 2893721"/>
              <a:gd name="connsiteX4" fmla="*/ 1191507 w 3388088"/>
              <a:gd name="connsiteY4" fmla="*/ 120275 h 2893721"/>
              <a:gd name="connsiteX0" fmla="*/ 1401381 w 3597962"/>
              <a:gd name="connsiteY0" fmla="*/ 153801 h 2927247"/>
              <a:gd name="connsiteX1" fmla="*/ 3453046 w 3597962"/>
              <a:gd name="connsiteY1" fmla="*/ 1831154 h 2927247"/>
              <a:gd name="connsiteX2" fmla="*/ 3597962 w 3597962"/>
              <a:gd name="connsiteY2" fmla="*/ 2927247 h 2927247"/>
              <a:gd name="connsiteX3" fmla="*/ 2 w 3597962"/>
              <a:gd name="connsiteY3" fmla="*/ -1 h 2927247"/>
              <a:gd name="connsiteX4" fmla="*/ 1401381 w 3597962"/>
              <a:gd name="connsiteY4" fmla="*/ 153801 h 2927247"/>
              <a:gd name="connsiteX0" fmla="*/ 1413299 w 3609880"/>
              <a:gd name="connsiteY0" fmla="*/ 143921 h 2917367"/>
              <a:gd name="connsiteX1" fmla="*/ 3464964 w 3609880"/>
              <a:gd name="connsiteY1" fmla="*/ 1821274 h 2917367"/>
              <a:gd name="connsiteX2" fmla="*/ 3609880 w 3609880"/>
              <a:gd name="connsiteY2" fmla="*/ 2917367 h 2917367"/>
              <a:gd name="connsiteX3" fmla="*/ 0 w 3609880"/>
              <a:gd name="connsiteY3" fmla="*/ -1 h 2917367"/>
              <a:gd name="connsiteX4" fmla="*/ 1413299 w 3609880"/>
              <a:gd name="connsiteY4" fmla="*/ 143921 h 2917367"/>
              <a:gd name="connsiteX0" fmla="*/ 1395236 w 3609880"/>
              <a:gd name="connsiteY0" fmla="*/ 129252 h 2917367"/>
              <a:gd name="connsiteX1" fmla="*/ 3464964 w 3609880"/>
              <a:gd name="connsiteY1" fmla="*/ 1821274 h 2917367"/>
              <a:gd name="connsiteX2" fmla="*/ 3609880 w 3609880"/>
              <a:gd name="connsiteY2" fmla="*/ 2917367 h 2917367"/>
              <a:gd name="connsiteX3" fmla="*/ 0 w 3609880"/>
              <a:gd name="connsiteY3" fmla="*/ -1 h 2917367"/>
              <a:gd name="connsiteX4" fmla="*/ 1395236 w 3609880"/>
              <a:gd name="connsiteY4" fmla="*/ 129252 h 2917367"/>
              <a:gd name="connsiteX0" fmla="*/ 1413294 w 3627938"/>
              <a:gd name="connsiteY0" fmla="*/ 143918 h 2932033"/>
              <a:gd name="connsiteX1" fmla="*/ 3483022 w 3627938"/>
              <a:gd name="connsiteY1" fmla="*/ 1835940 h 2932033"/>
              <a:gd name="connsiteX2" fmla="*/ 3627938 w 3627938"/>
              <a:gd name="connsiteY2" fmla="*/ 2932033 h 2932033"/>
              <a:gd name="connsiteX3" fmla="*/ 0 w 3627938"/>
              <a:gd name="connsiteY3" fmla="*/ -1 h 2932033"/>
              <a:gd name="connsiteX4" fmla="*/ 1413294 w 3627938"/>
              <a:gd name="connsiteY4" fmla="*/ 143918 h 2932033"/>
              <a:gd name="connsiteX0" fmla="*/ 1413294 w 4505147"/>
              <a:gd name="connsiteY0" fmla="*/ 143918 h 3570188"/>
              <a:gd name="connsiteX1" fmla="*/ 3483022 w 4505147"/>
              <a:gd name="connsiteY1" fmla="*/ 1835940 h 3570188"/>
              <a:gd name="connsiteX2" fmla="*/ 4505147 w 4505147"/>
              <a:gd name="connsiteY2" fmla="*/ 3570187 h 3570188"/>
              <a:gd name="connsiteX3" fmla="*/ 0 w 4505147"/>
              <a:gd name="connsiteY3" fmla="*/ -1 h 3570188"/>
              <a:gd name="connsiteX4" fmla="*/ 1413294 w 4505147"/>
              <a:gd name="connsiteY4" fmla="*/ 143918 h 3570188"/>
              <a:gd name="connsiteX0" fmla="*/ 1413294 w 4505147"/>
              <a:gd name="connsiteY0" fmla="*/ 143918 h 3570188"/>
              <a:gd name="connsiteX1" fmla="*/ 4403248 w 4505147"/>
              <a:gd name="connsiteY1" fmla="*/ 2770942 h 3570188"/>
              <a:gd name="connsiteX2" fmla="*/ 4505147 w 4505147"/>
              <a:gd name="connsiteY2" fmla="*/ 3570187 h 3570188"/>
              <a:gd name="connsiteX3" fmla="*/ 0 w 4505147"/>
              <a:gd name="connsiteY3" fmla="*/ -1 h 3570188"/>
              <a:gd name="connsiteX4" fmla="*/ 1413294 w 4505147"/>
              <a:gd name="connsiteY4" fmla="*/ 143918 h 3570188"/>
              <a:gd name="connsiteX0" fmla="*/ 1268490 w 4505147"/>
              <a:gd name="connsiteY0" fmla="*/ 379192 h 3570188"/>
              <a:gd name="connsiteX1" fmla="*/ 4403248 w 4505147"/>
              <a:gd name="connsiteY1" fmla="*/ 2770942 h 3570188"/>
              <a:gd name="connsiteX2" fmla="*/ 4505147 w 4505147"/>
              <a:gd name="connsiteY2" fmla="*/ 3570187 h 3570188"/>
              <a:gd name="connsiteX3" fmla="*/ 0 w 4505147"/>
              <a:gd name="connsiteY3" fmla="*/ -1 h 3570188"/>
              <a:gd name="connsiteX4" fmla="*/ 1268490 w 4505147"/>
              <a:gd name="connsiteY4" fmla="*/ 379192 h 3570188"/>
              <a:gd name="connsiteX0" fmla="*/ 1079461 w 4505147"/>
              <a:gd name="connsiteY0" fmla="*/ 126942 h 3570188"/>
              <a:gd name="connsiteX1" fmla="*/ 4403248 w 4505147"/>
              <a:gd name="connsiteY1" fmla="*/ 2770942 h 3570188"/>
              <a:gd name="connsiteX2" fmla="*/ 4505147 w 4505147"/>
              <a:gd name="connsiteY2" fmla="*/ 3570187 h 3570188"/>
              <a:gd name="connsiteX3" fmla="*/ 0 w 4505147"/>
              <a:gd name="connsiteY3" fmla="*/ -1 h 3570188"/>
              <a:gd name="connsiteX4" fmla="*/ 1079461 w 4505147"/>
              <a:gd name="connsiteY4" fmla="*/ 126942 h 3570188"/>
              <a:gd name="connsiteX0" fmla="*/ 1079461 w 4505147"/>
              <a:gd name="connsiteY0" fmla="*/ 126942 h 3570188"/>
              <a:gd name="connsiteX1" fmla="*/ 4407746 w 4505147"/>
              <a:gd name="connsiteY1" fmla="*/ 2759921 h 3570188"/>
              <a:gd name="connsiteX2" fmla="*/ 4505147 w 4505147"/>
              <a:gd name="connsiteY2" fmla="*/ 3570187 h 3570188"/>
              <a:gd name="connsiteX3" fmla="*/ 0 w 4505147"/>
              <a:gd name="connsiteY3" fmla="*/ -1 h 3570188"/>
              <a:gd name="connsiteX4" fmla="*/ 1079461 w 4505147"/>
              <a:gd name="connsiteY4" fmla="*/ 126942 h 3570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05147" h="3570188">
                <a:moveTo>
                  <a:pt x="1079461" y="126942"/>
                </a:moveTo>
                <a:lnTo>
                  <a:pt x="4407746" y="2759921"/>
                </a:lnTo>
                <a:lnTo>
                  <a:pt x="4505147" y="3570187"/>
                </a:lnTo>
                <a:lnTo>
                  <a:pt x="0" y="-1"/>
                </a:lnTo>
                <a:lnTo>
                  <a:pt x="1079461" y="126942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err="1">
              <a:solidFill>
                <a:schemeClr val="tx1"/>
              </a:solidFill>
            </a:endParaRPr>
          </a:p>
        </p:txBody>
      </p:sp>
      <p:sp>
        <p:nvSpPr>
          <p:cNvPr id="45" name="Rechteck 12">
            <a:extLst>
              <a:ext uri="{FF2B5EF4-FFF2-40B4-BE49-F238E27FC236}">
                <a16:creationId xmlns:a16="http://schemas.microsoft.com/office/drawing/2014/main" id="{06536527-EA10-4C9D-8AB9-311350EE04F2}"/>
              </a:ext>
            </a:extLst>
          </p:cNvPr>
          <p:cNvSpPr/>
          <p:nvPr/>
        </p:nvSpPr>
        <p:spPr>
          <a:xfrm rot="17130543">
            <a:off x="1223960" y="569615"/>
            <a:ext cx="3217746" cy="3153401"/>
          </a:xfrm>
          <a:custGeom>
            <a:avLst/>
            <a:gdLst>
              <a:gd name="connsiteX0" fmla="*/ 0 w 3503596"/>
              <a:gd name="connsiteY0" fmla="*/ 0 h 2850080"/>
              <a:gd name="connsiteX1" fmla="*/ 3503596 w 3503596"/>
              <a:gd name="connsiteY1" fmla="*/ 0 h 2850080"/>
              <a:gd name="connsiteX2" fmla="*/ 3503596 w 3503596"/>
              <a:gd name="connsiteY2" fmla="*/ 2850080 h 2850080"/>
              <a:gd name="connsiteX3" fmla="*/ 0 w 3503596"/>
              <a:gd name="connsiteY3" fmla="*/ 2850080 h 2850080"/>
              <a:gd name="connsiteX4" fmla="*/ 0 w 3503596"/>
              <a:gd name="connsiteY4" fmla="*/ 0 h 2850080"/>
              <a:gd name="connsiteX0" fmla="*/ 0 w 3532471"/>
              <a:gd name="connsiteY0" fmla="*/ 0 h 2850080"/>
              <a:gd name="connsiteX1" fmla="*/ 3532471 w 3532471"/>
              <a:gd name="connsiteY1" fmla="*/ 1953928 h 2850080"/>
              <a:gd name="connsiteX2" fmla="*/ 3503596 w 3532471"/>
              <a:gd name="connsiteY2" fmla="*/ 2850080 h 2850080"/>
              <a:gd name="connsiteX3" fmla="*/ 0 w 3532471"/>
              <a:gd name="connsiteY3" fmla="*/ 2850080 h 2850080"/>
              <a:gd name="connsiteX4" fmla="*/ 0 w 3532471"/>
              <a:gd name="connsiteY4" fmla="*/ 0 h 2850080"/>
              <a:gd name="connsiteX0" fmla="*/ 1155031 w 3532471"/>
              <a:gd name="connsiteY0" fmla="*/ 0 h 2840455"/>
              <a:gd name="connsiteX1" fmla="*/ 3532471 w 3532471"/>
              <a:gd name="connsiteY1" fmla="*/ 1944303 h 2840455"/>
              <a:gd name="connsiteX2" fmla="*/ 3503596 w 3532471"/>
              <a:gd name="connsiteY2" fmla="*/ 2840455 h 2840455"/>
              <a:gd name="connsiteX3" fmla="*/ 0 w 3532471"/>
              <a:gd name="connsiteY3" fmla="*/ 2840455 h 2840455"/>
              <a:gd name="connsiteX4" fmla="*/ 1155031 w 3532471"/>
              <a:gd name="connsiteY4" fmla="*/ 0 h 2840455"/>
              <a:gd name="connsiteX0" fmla="*/ 1164656 w 3542096"/>
              <a:gd name="connsiteY0" fmla="*/ 8623 h 2849078"/>
              <a:gd name="connsiteX1" fmla="*/ 3542096 w 3542096"/>
              <a:gd name="connsiteY1" fmla="*/ 195292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64656 w 3542096"/>
              <a:gd name="connsiteY4" fmla="*/ 8623 h 2849078"/>
              <a:gd name="connsiteX0" fmla="*/ 1164656 w 3542096"/>
              <a:gd name="connsiteY0" fmla="*/ 8623 h 2849078"/>
              <a:gd name="connsiteX1" fmla="*/ 3542096 w 3542096"/>
              <a:gd name="connsiteY1" fmla="*/ 193387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64656 w 3542096"/>
              <a:gd name="connsiteY4" fmla="*/ 8623 h 2849078"/>
              <a:gd name="connsiteX0" fmla="*/ 1177356 w 3542096"/>
              <a:gd name="connsiteY0" fmla="*/ 2273 h 2849078"/>
              <a:gd name="connsiteX1" fmla="*/ 3542096 w 3542096"/>
              <a:gd name="connsiteY1" fmla="*/ 193387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77356 w 3542096"/>
              <a:gd name="connsiteY4" fmla="*/ 2273 h 2849078"/>
              <a:gd name="connsiteX0" fmla="*/ 1202756 w 3567496"/>
              <a:gd name="connsiteY0" fmla="*/ 2273 h 2849078"/>
              <a:gd name="connsiteX1" fmla="*/ 3567496 w 3567496"/>
              <a:gd name="connsiteY1" fmla="*/ 1933876 h 2849078"/>
              <a:gd name="connsiteX2" fmla="*/ 3538621 w 3567496"/>
              <a:gd name="connsiteY2" fmla="*/ 2849078 h 2849078"/>
              <a:gd name="connsiteX3" fmla="*/ 0 w 3567496"/>
              <a:gd name="connsiteY3" fmla="*/ 0 h 2849078"/>
              <a:gd name="connsiteX4" fmla="*/ 1202756 w 3567496"/>
              <a:gd name="connsiteY4" fmla="*/ 2273 h 2849078"/>
              <a:gd name="connsiteX0" fmla="*/ 1202756 w 3579896"/>
              <a:gd name="connsiteY0" fmla="*/ 2273 h 2912578"/>
              <a:gd name="connsiteX1" fmla="*/ 3567496 w 3579896"/>
              <a:gd name="connsiteY1" fmla="*/ 1933876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202756 w 3579896"/>
              <a:gd name="connsiteY4" fmla="*/ 2273 h 2912578"/>
              <a:gd name="connsiteX0" fmla="*/ 1202756 w 3852899"/>
              <a:gd name="connsiteY0" fmla="*/ 2273 h 3018705"/>
              <a:gd name="connsiteX1" fmla="*/ 3567496 w 3852899"/>
              <a:gd name="connsiteY1" fmla="*/ 1933876 h 3018705"/>
              <a:gd name="connsiteX2" fmla="*/ 3852899 w 3852899"/>
              <a:gd name="connsiteY2" fmla="*/ 3018705 h 3018705"/>
              <a:gd name="connsiteX3" fmla="*/ 0 w 3852899"/>
              <a:gd name="connsiteY3" fmla="*/ 0 h 3018705"/>
              <a:gd name="connsiteX4" fmla="*/ 1202756 w 3852899"/>
              <a:gd name="connsiteY4" fmla="*/ 2273 h 3018705"/>
              <a:gd name="connsiteX0" fmla="*/ 897159 w 3852899"/>
              <a:gd name="connsiteY0" fmla="*/ 0 h 3272312"/>
              <a:gd name="connsiteX1" fmla="*/ 3567496 w 3852899"/>
              <a:gd name="connsiteY1" fmla="*/ 2187483 h 3272312"/>
              <a:gd name="connsiteX2" fmla="*/ 3852899 w 3852899"/>
              <a:gd name="connsiteY2" fmla="*/ 3272312 h 3272312"/>
              <a:gd name="connsiteX3" fmla="*/ 0 w 3852899"/>
              <a:gd name="connsiteY3" fmla="*/ 253607 h 3272312"/>
              <a:gd name="connsiteX4" fmla="*/ 897159 w 3852899"/>
              <a:gd name="connsiteY4" fmla="*/ 0 h 3272312"/>
              <a:gd name="connsiteX0" fmla="*/ 290026 w 3245766"/>
              <a:gd name="connsiteY0" fmla="*/ 0 h 3272312"/>
              <a:gd name="connsiteX1" fmla="*/ 2960363 w 3245766"/>
              <a:gd name="connsiteY1" fmla="*/ 2187483 h 3272312"/>
              <a:gd name="connsiteX2" fmla="*/ 3245766 w 3245766"/>
              <a:gd name="connsiteY2" fmla="*/ 3272312 h 3272312"/>
              <a:gd name="connsiteX3" fmla="*/ 0 w 3245766"/>
              <a:gd name="connsiteY3" fmla="*/ 694666 h 3272312"/>
              <a:gd name="connsiteX4" fmla="*/ 290026 w 3245766"/>
              <a:gd name="connsiteY4" fmla="*/ 0 h 3272312"/>
              <a:gd name="connsiteX0" fmla="*/ 232025 w 3187765"/>
              <a:gd name="connsiteY0" fmla="*/ 0 h 3272312"/>
              <a:gd name="connsiteX1" fmla="*/ 2902362 w 3187765"/>
              <a:gd name="connsiteY1" fmla="*/ 2187483 h 3272312"/>
              <a:gd name="connsiteX2" fmla="*/ 3187765 w 3187765"/>
              <a:gd name="connsiteY2" fmla="*/ 3272312 h 3272312"/>
              <a:gd name="connsiteX3" fmla="*/ 0 w 3187765"/>
              <a:gd name="connsiteY3" fmla="*/ 680515 h 3272312"/>
              <a:gd name="connsiteX4" fmla="*/ 232025 w 3187765"/>
              <a:gd name="connsiteY4" fmla="*/ 0 h 3272312"/>
              <a:gd name="connsiteX0" fmla="*/ 239390 w 3195130"/>
              <a:gd name="connsiteY0" fmla="*/ 0 h 3272312"/>
              <a:gd name="connsiteX1" fmla="*/ 2909727 w 3195130"/>
              <a:gd name="connsiteY1" fmla="*/ 2187483 h 3272312"/>
              <a:gd name="connsiteX2" fmla="*/ 3195130 w 3195130"/>
              <a:gd name="connsiteY2" fmla="*/ 3272312 h 3272312"/>
              <a:gd name="connsiteX3" fmla="*/ 0 w 3195130"/>
              <a:gd name="connsiteY3" fmla="*/ 569693 h 3272312"/>
              <a:gd name="connsiteX4" fmla="*/ 239390 w 3195130"/>
              <a:gd name="connsiteY4" fmla="*/ 0 h 3272312"/>
              <a:gd name="connsiteX0" fmla="*/ 262006 w 3217746"/>
              <a:gd name="connsiteY0" fmla="*/ 0 h 3272312"/>
              <a:gd name="connsiteX1" fmla="*/ 2932343 w 3217746"/>
              <a:gd name="connsiteY1" fmla="*/ 2187483 h 3272312"/>
              <a:gd name="connsiteX2" fmla="*/ 3217746 w 3217746"/>
              <a:gd name="connsiteY2" fmla="*/ 3272312 h 3272312"/>
              <a:gd name="connsiteX3" fmla="*/ 0 w 3217746"/>
              <a:gd name="connsiteY3" fmla="*/ 620705 h 3272312"/>
              <a:gd name="connsiteX4" fmla="*/ 262006 w 3217746"/>
              <a:gd name="connsiteY4" fmla="*/ 0 h 3272312"/>
              <a:gd name="connsiteX0" fmla="*/ 261158 w 3217746"/>
              <a:gd name="connsiteY0" fmla="*/ 0 h 3275489"/>
              <a:gd name="connsiteX1" fmla="*/ 2932343 w 3217746"/>
              <a:gd name="connsiteY1" fmla="*/ 2190660 h 3275489"/>
              <a:gd name="connsiteX2" fmla="*/ 3217746 w 3217746"/>
              <a:gd name="connsiteY2" fmla="*/ 3275489 h 3275489"/>
              <a:gd name="connsiteX3" fmla="*/ 0 w 3217746"/>
              <a:gd name="connsiteY3" fmla="*/ 623882 h 3275489"/>
              <a:gd name="connsiteX4" fmla="*/ 261158 w 3217746"/>
              <a:gd name="connsiteY4" fmla="*/ 0 h 3275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17746" h="3275489">
                <a:moveTo>
                  <a:pt x="261158" y="0"/>
                </a:moveTo>
                <a:lnTo>
                  <a:pt x="2932343" y="2190660"/>
                </a:lnTo>
                <a:lnTo>
                  <a:pt x="3217746" y="3275489"/>
                </a:lnTo>
                <a:lnTo>
                  <a:pt x="0" y="623882"/>
                </a:lnTo>
                <a:lnTo>
                  <a:pt x="261158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err="1">
              <a:solidFill>
                <a:schemeClr val="tx1"/>
              </a:solidFill>
            </a:endParaRPr>
          </a:p>
        </p:txBody>
      </p:sp>
      <p:sp>
        <p:nvSpPr>
          <p:cNvPr id="46" name="Rechteck 12">
            <a:extLst>
              <a:ext uri="{FF2B5EF4-FFF2-40B4-BE49-F238E27FC236}">
                <a16:creationId xmlns:a16="http://schemas.microsoft.com/office/drawing/2014/main" id="{46BB0D0B-CAEF-4541-A8D9-F9DB5C4D71E8}"/>
              </a:ext>
            </a:extLst>
          </p:cNvPr>
          <p:cNvSpPr/>
          <p:nvPr/>
        </p:nvSpPr>
        <p:spPr>
          <a:xfrm>
            <a:off x="1177758" y="1010653"/>
            <a:ext cx="3579896" cy="2912578"/>
          </a:xfrm>
          <a:custGeom>
            <a:avLst/>
            <a:gdLst>
              <a:gd name="connsiteX0" fmla="*/ 0 w 3503596"/>
              <a:gd name="connsiteY0" fmla="*/ 0 h 2850080"/>
              <a:gd name="connsiteX1" fmla="*/ 3503596 w 3503596"/>
              <a:gd name="connsiteY1" fmla="*/ 0 h 2850080"/>
              <a:gd name="connsiteX2" fmla="*/ 3503596 w 3503596"/>
              <a:gd name="connsiteY2" fmla="*/ 2850080 h 2850080"/>
              <a:gd name="connsiteX3" fmla="*/ 0 w 3503596"/>
              <a:gd name="connsiteY3" fmla="*/ 2850080 h 2850080"/>
              <a:gd name="connsiteX4" fmla="*/ 0 w 3503596"/>
              <a:gd name="connsiteY4" fmla="*/ 0 h 2850080"/>
              <a:gd name="connsiteX0" fmla="*/ 0 w 3532471"/>
              <a:gd name="connsiteY0" fmla="*/ 0 h 2850080"/>
              <a:gd name="connsiteX1" fmla="*/ 3532471 w 3532471"/>
              <a:gd name="connsiteY1" fmla="*/ 1953928 h 2850080"/>
              <a:gd name="connsiteX2" fmla="*/ 3503596 w 3532471"/>
              <a:gd name="connsiteY2" fmla="*/ 2850080 h 2850080"/>
              <a:gd name="connsiteX3" fmla="*/ 0 w 3532471"/>
              <a:gd name="connsiteY3" fmla="*/ 2850080 h 2850080"/>
              <a:gd name="connsiteX4" fmla="*/ 0 w 3532471"/>
              <a:gd name="connsiteY4" fmla="*/ 0 h 2850080"/>
              <a:gd name="connsiteX0" fmla="*/ 1155031 w 3532471"/>
              <a:gd name="connsiteY0" fmla="*/ 0 h 2840455"/>
              <a:gd name="connsiteX1" fmla="*/ 3532471 w 3532471"/>
              <a:gd name="connsiteY1" fmla="*/ 1944303 h 2840455"/>
              <a:gd name="connsiteX2" fmla="*/ 3503596 w 3532471"/>
              <a:gd name="connsiteY2" fmla="*/ 2840455 h 2840455"/>
              <a:gd name="connsiteX3" fmla="*/ 0 w 3532471"/>
              <a:gd name="connsiteY3" fmla="*/ 2840455 h 2840455"/>
              <a:gd name="connsiteX4" fmla="*/ 1155031 w 3532471"/>
              <a:gd name="connsiteY4" fmla="*/ 0 h 2840455"/>
              <a:gd name="connsiteX0" fmla="*/ 1164656 w 3542096"/>
              <a:gd name="connsiteY0" fmla="*/ 8623 h 2849078"/>
              <a:gd name="connsiteX1" fmla="*/ 3542096 w 3542096"/>
              <a:gd name="connsiteY1" fmla="*/ 195292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64656 w 3542096"/>
              <a:gd name="connsiteY4" fmla="*/ 8623 h 2849078"/>
              <a:gd name="connsiteX0" fmla="*/ 1164656 w 3542096"/>
              <a:gd name="connsiteY0" fmla="*/ 8623 h 2849078"/>
              <a:gd name="connsiteX1" fmla="*/ 3542096 w 3542096"/>
              <a:gd name="connsiteY1" fmla="*/ 193387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64656 w 3542096"/>
              <a:gd name="connsiteY4" fmla="*/ 8623 h 2849078"/>
              <a:gd name="connsiteX0" fmla="*/ 1177356 w 3542096"/>
              <a:gd name="connsiteY0" fmla="*/ 2273 h 2849078"/>
              <a:gd name="connsiteX1" fmla="*/ 3542096 w 3542096"/>
              <a:gd name="connsiteY1" fmla="*/ 193387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77356 w 3542096"/>
              <a:gd name="connsiteY4" fmla="*/ 2273 h 2849078"/>
              <a:gd name="connsiteX0" fmla="*/ 1202756 w 3567496"/>
              <a:gd name="connsiteY0" fmla="*/ 2273 h 2849078"/>
              <a:gd name="connsiteX1" fmla="*/ 3567496 w 3567496"/>
              <a:gd name="connsiteY1" fmla="*/ 1933876 h 2849078"/>
              <a:gd name="connsiteX2" fmla="*/ 3538621 w 3567496"/>
              <a:gd name="connsiteY2" fmla="*/ 2849078 h 2849078"/>
              <a:gd name="connsiteX3" fmla="*/ 0 w 3567496"/>
              <a:gd name="connsiteY3" fmla="*/ 0 h 2849078"/>
              <a:gd name="connsiteX4" fmla="*/ 1202756 w 3567496"/>
              <a:gd name="connsiteY4" fmla="*/ 2273 h 2849078"/>
              <a:gd name="connsiteX0" fmla="*/ 1202756 w 3579896"/>
              <a:gd name="connsiteY0" fmla="*/ 2273 h 2912578"/>
              <a:gd name="connsiteX1" fmla="*/ 3567496 w 3579896"/>
              <a:gd name="connsiteY1" fmla="*/ 1933876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202756 w 3579896"/>
              <a:gd name="connsiteY4" fmla="*/ 2273 h 2912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79896" h="2912578">
                <a:moveTo>
                  <a:pt x="1202756" y="2273"/>
                </a:moveTo>
                <a:lnTo>
                  <a:pt x="3567496" y="1933876"/>
                </a:lnTo>
                <a:lnTo>
                  <a:pt x="3579896" y="2912578"/>
                </a:lnTo>
                <a:lnTo>
                  <a:pt x="0" y="0"/>
                </a:lnTo>
                <a:lnTo>
                  <a:pt x="1202756" y="2273"/>
                </a:lnTo>
                <a:close/>
              </a:path>
            </a:pathLst>
          </a:custGeom>
          <a:solidFill>
            <a:schemeClr val="accent2">
              <a:lumMod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err="1">
              <a:solidFill>
                <a:schemeClr val="tx1"/>
              </a:solidFill>
            </a:endParaRPr>
          </a:p>
        </p:txBody>
      </p:sp>
      <p:sp>
        <p:nvSpPr>
          <p:cNvPr id="47" name="Rechteck 12">
            <a:extLst>
              <a:ext uri="{FF2B5EF4-FFF2-40B4-BE49-F238E27FC236}">
                <a16:creationId xmlns:a16="http://schemas.microsoft.com/office/drawing/2014/main" id="{E13710F1-D5D4-43EE-A6BE-D6F5C9176F1A}"/>
              </a:ext>
            </a:extLst>
          </p:cNvPr>
          <p:cNvSpPr/>
          <p:nvPr/>
        </p:nvSpPr>
        <p:spPr>
          <a:xfrm>
            <a:off x="940375" y="3014245"/>
            <a:ext cx="3475421" cy="2834105"/>
          </a:xfrm>
          <a:custGeom>
            <a:avLst/>
            <a:gdLst>
              <a:gd name="connsiteX0" fmla="*/ 0 w 3503596"/>
              <a:gd name="connsiteY0" fmla="*/ 0 h 2850080"/>
              <a:gd name="connsiteX1" fmla="*/ 3503596 w 3503596"/>
              <a:gd name="connsiteY1" fmla="*/ 0 h 2850080"/>
              <a:gd name="connsiteX2" fmla="*/ 3503596 w 3503596"/>
              <a:gd name="connsiteY2" fmla="*/ 2850080 h 2850080"/>
              <a:gd name="connsiteX3" fmla="*/ 0 w 3503596"/>
              <a:gd name="connsiteY3" fmla="*/ 2850080 h 2850080"/>
              <a:gd name="connsiteX4" fmla="*/ 0 w 3503596"/>
              <a:gd name="connsiteY4" fmla="*/ 0 h 2850080"/>
              <a:gd name="connsiteX0" fmla="*/ 0 w 3532471"/>
              <a:gd name="connsiteY0" fmla="*/ 0 h 2850080"/>
              <a:gd name="connsiteX1" fmla="*/ 3532471 w 3532471"/>
              <a:gd name="connsiteY1" fmla="*/ 1953928 h 2850080"/>
              <a:gd name="connsiteX2" fmla="*/ 3503596 w 3532471"/>
              <a:gd name="connsiteY2" fmla="*/ 2850080 h 2850080"/>
              <a:gd name="connsiteX3" fmla="*/ 0 w 3532471"/>
              <a:gd name="connsiteY3" fmla="*/ 2850080 h 2850080"/>
              <a:gd name="connsiteX4" fmla="*/ 0 w 3532471"/>
              <a:gd name="connsiteY4" fmla="*/ 0 h 2850080"/>
              <a:gd name="connsiteX0" fmla="*/ 1155031 w 3532471"/>
              <a:gd name="connsiteY0" fmla="*/ 0 h 2840455"/>
              <a:gd name="connsiteX1" fmla="*/ 3532471 w 3532471"/>
              <a:gd name="connsiteY1" fmla="*/ 1944303 h 2840455"/>
              <a:gd name="connsiteX2" fmla="*/ 3503596 w 3532471"/>
              <a:gd name="connsiteY2" fmla="*/ 2840455 h 2840455"/>
              <a:gd name="connsiteX3" fmla="*/ 0 w 3532471"/>
              <a:gd name="connsiteY3" fmla="*/ 2840455 h 2840455"/>
              <a:gd name="connsiteX4" fmla="*/ 1155031 w 3532471"/>
              <a:gd name="connsiteY4" fmla="*/ 0 h 2840455"/>
              <a:gd name="connsiteX0" fmla="*/ 1164656 w 3542096"/>
              <a:gd name="connsiteY0" fmla="*/ 8623 h 2849078"/>
              <a:gd name="connsiteX1" fmla="*/ 3542096 w 3542096"/>
              <a:gd name="connsiteY1" fmla="*/ 195292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64656 w 3542096"/>
              <a:gd name="connsiteY4" fmla="*/ 8623 h 2849078"/>
              <a:gd name="connsiteX0" fmla="*/ 1164656 w 3542096"/>
              <a:gd name="connsiteY0" fmla="*/ 8623 h 2849078"/>
              <a:gd name="connsiteX1" fmla="*/ 3542096 w 3542096"/>
              <a:gd name="connsiteY1" fmla="*/ 193387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64656 w 3542096"/>
              <a:gd name="connsiteY4" fmla="*/ 8623 h 2849078"/>
              <a:gd name="connsiteX0" fmla="*/ 1177356 w 3542096"/>
              <a:gd name="connsiteY0" fmla="*/ 2273 h 2849078"/>
              <a:gd name="connsiteX1" fmla="*/ 3542096 w 3542096"/>
              <a:gd name="connsiteY1" fmla="*/ 193387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77356 w 3542096"/>
              <a:gd name="connsiteY4" fmla="*/ 2273 h 2849078"/>
              <a:gd name="connsiteX0" fmla="*/ 1202756 w 3567496"/>
              <a:gd name="connsiteY0" fmla="*/ 2273 h 2849078"/>
              <a:gd name="connsiteX1" fmla="*/ 3567496 w 3567496"/>
              <a:gd name="connsiteY1" fmla="*/ 1933876 h 2849078"/>
              <a:gd name="connsiteX2" fmla="*/ 3538621 w 3567496"/>
              <a:gd name="connsiteY2" fmla="*/ 2849078 h 2849078"/>
              <a:gd name="connsiteX3" fmla="*/ 0 w 3567496"/>
              <a:gd name="connsiteY3" fmla="*/ 0 h 2849078"/>
              <a:gd name="connsiteX4" fmla="*/ 1202756 w 3567496"/>
              <a:gd name="connsiteY4" fmla="*/ 2273 h 2849078"/>
              <a:gd name="connsiteX0" fmla="*/ 1202756 w 3579896"/>
              <a:gd name="connsiteY0" fmla="*/ 2273 h 2912578"/>
              <a:gd name="connsiteX1" fmla="*/ 3567496 w 3579896"/>
              <a:gd name="connsiteY1" fmla="*/ 1933876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202756 w 3579896"/>
              <a:gd name="connsiteY4" fmla="*/ 2273 h 2912578"/>
              <a:gd name="connsiteX0" fmla="*/ 1202756 w 4767646"/>
              <a:gd name="connsiteY0" fmla="*/ 2273 h 2914951"/>
              <a:gd name="connsiteX1" fmla="*/ 4767646 w 4767646"/>
              <a:gd name="connsiteY1" fmla="*/ 2914951 h 2914951"/>
              <a:gd name="connsiteX2" fmla="*/ 3579896 w 4767646"/>
              <a:gd name="connsiteY2" fmla="*/ 2912578 h 2914951"/>
              <a:gd name="connsiteX3" fmla="*/ 0 w 4767646"/>
              <a:gd name="connsiteY3" fmla="*/ 0 h 2914951"/>
              <a:gd name="connsiteX4" fmla="*/ 1202756 w 4767646"/>
              <a:gd name="connsiteY4" fmla="*/ 2273 h 2914951"/>
              <a:gd name="connsiteX0" fmla="*/ 1202756 w 4767646"/>
              <a:gd name="connsiteY0" fmla="*/ 2273 h 2915753"/>
              <a:gd name="connsiteX1" fmla="*/ 4767646 w 4767646"/>
              <a:gd name="connsiteY1" fmla="*/ 2914951 h 2915753"/>
              <a:gd name="connsiteX2" fmla="*/ 3567196 w 4767646"/>
              <a:gd name="connsiteY2" fmla="*/ 2915753 h 2915753"/>
              <a:gd name="connsiteX3" fmla="*/ 0 w 4767646"/>
              <a:gd name="connsiteY3" fmla="*/ 0 h 2915753"/>
              <a:gd name="connsiteX4" fmla="*/ 1202756 w 4767646"/>
              <a:gd name="connsiteY4" fmla="*/ 2273 h 2915753"/>
              <a:gd name="connsiteX0" fmla="*/ 1294831 w 4767646"/>
              <a:gd name="connsiteY0" fmla="*/ 110223 h 2915753"/>
              <a:gd name="connsiteX1" fmla="*/ 4767646 w 4767646"/>
              <a:gd name="connsiteY1" fmla="*/ 2914951 h 2915753"/>
              <a:gd name="connsiteX2" fmla="*/ 3567196 w 4767646"/>
              <a:gd name="connsiteY2" fmla="*/ 2915753 h 2915753"/>
              <a:gd name="connsiteX3" fmla="*/ 0 w 4767646"/>
              <a:gd name="connsiteY3" fmla="*/ 0 h 2915753"/>
              <a:gd name="connsiteX4" fmla="*/ 1294831 w 4767646"/>
              <a:gd name="connsiteY4" fmla="*/ 110223 h 2915753"/>
              <a:gd name="connsiteX0" fmla="*/ 81981 w 3554796"/>
              <a:gd name="connsiteY0" fmla="*/ 0 h 2805530"/>
              <a:gd name="connsiteX1" fmla="*/ 3554796 w 3554796"/>
              <a:gd name="connsiteY1" fmla="*/ 2804728 h 2805530"/>
              <a:gd name="connsiteX2" fmla="*/ 2354346 w 3554796"/>
              <a:gd name="connsiteY2" fmla="*/ 2805530 h 2805530"/>
              <a:gd name="connsiteX3" fmla="*/ 0 w 3554796"/>
              <a:gd name="connsiteY3" fmla="*/ 616852 h 2805530"/>
              <a:gd name="connsiteX4" fmla="*/ 81981 w 3554796"/>
              <a:gd name="connsiteY4" fmla="*/ 0 h 2805530"/>
              <a:gd name="connsiteX0" fmla="*/ 88331 w 3554796"/>
              <a:gd name="connsiteY0" fmla="*/ 0 h 2834105"/>
              <a:gd name="connsiteX1" fmla="*/ 3554796 w 3554796"/>
              <a:gd name="connsiteY1" fmla="*/ 2833303 h 2834105"/>
              <a:gd name="connsiteX2" fmla="*/ 2354346 w 3554796"/>
              <a:gd name="connsiteY2" fmla="*/ 2834105 h 2834105"/>
              <a:gd name="connsiteX3" fmla="*/ 0 w 3554796"/>
              <a:gd name="connsiteY3" fmla="*/ 645427 h 2834105"/>
              <a:gd name="connsiteX4" fmla="*/ 88331 w 3554796"/>
              <a:gd name="connsiteY4" fmla="*/ 0 h 2834105"/>
              <a:gd name="connsiteX0" fmla="*/ 8956 w 3475421"/>
              <a:gd name="connsiteY0" fmla="*/ 0 h 2834105"/>
              <a:gd name="connsiteX1" fmla="*/ 3475421 w 3475421"/>
              <a:gd name="connsiteY1" fmla="*/ 2833303 h 2834105"/>
              <a:gd name="connsiteX2" fmla="*/ 2274971 w 3475421"/>
              <a:gd name="connsiteY2" fmla="*/ 2834105 h 2834105"/>
              <a:gd name="connsiteX3" fmla="*/ 0 w 3475421"/>
              <a:gd name="connsiteY3" fmla="*/ 972452 h 2834105"/>
              <a:gd name="connsiteX4" fmla="*/ 8956 w 3475421"/>
              <a:gd name="connsiteY4" fmla="*/ 0 h 2834105"/>
              <a:gd name="connsiteX0" fmla="*/ 8956 w 3475421"/>
              <a:gd name="connsiteY0" fmla="*/ 0 h 2834105"/>
              <a:gd name="connsiteX1" fmla="*/ 3475421 w 3475421"/>
              <a:gd name="connsiteY1" fmla="*/ 2833303 h 2834105"/>
              <a:gd name="connsiteX2" fmla="*/ 2274971 w 3475421"/>
              <a:gd name="connsiteY2" fmla="*/ 2834105 h 2834105"/>
              <a:gd name="connsiteX3" fmla="*/ 0 w 3475421"/>
              <a:gd name="connsiteY3" fmla="*/ 975627 h 2834105"/>
              <a:gd name="connsiteX4" fmla="*/ 8956 w 3475421"/>
              <a:gd name="connsiteY4" fmla="*/ 0 h 28341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5421" h="2834105">
                <a:moveTo>
                  <a:pt x="8956" y="0"/>
                </a:moveTo>
                <a:lnTo>
                  <a:pt x="3475421" y="2833303"/>
                </a:lnTo>
                <a:lnTo>
                  <a:pt x="2274971" y="2834105"/>
                </a:lnTo>
                <a:lnTo>
                  <a:pt x="0" y="975627"/>
                </a:lnTo>
                <a:cubicBezTo>
                  <a:pt x="2985" y="651476"/>
                  <a:pt x="5971" y="324151"/>
                  <a:pt x="8956" y="0"/>
                </a:cubicBezTo>
                <a:close/>
              </a:path>
            </a:pathLst>
          </a:custGeom>
          <a:solidFill>
            <a:schemeClr val="accent2">
              <a:lumMod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err="1">
              <a:solidFill>
                <a:schemeClr val="tx1"/>
              </a:solidFill>
            </a:endParaRPr>
          </a:p>
        </p:txBody>
      </p:sp>
      <p:sp>
        <p:nvSpPr>
          <p:cNvPr id="48" name="Rechteck 12">
            <a:extLst>
              <a:ext uri="{FF2B5EF4-FFF2-40B4-BE49-F238E27FC236}">
                <a16:creationId xmlns:a16="http://schemas.microsoft.com/office/drawing/2014/main" id="{498EF5A1-FE1D-46A2-B37B-30A59DFFA666}"/>
              </a:ext>
            </a:extLst>
          </p:cNvPr>
          <p:cNvSpPr/>
          <p:nvPr/>
        </p:nvSpPr>
        <p:spPr>
          <a:xfrm rot="8117421">
            <a:off x="2710808" y="609304"/>
            <a:ext cx="1019770" cy="1004596"/>
          </a:xfrm>
          <a:custGeom>
            <a:avLst/>
            <a:gdLst>
              <a:gd name="connsiteX0" fmla="*/ 0 w 3503596"/>
              <a:gd name="connsiteY0" fmla="*/ 0 h 2850080"/>
              <a:gd name="connsiteX1" fmla="*/ 3503596 w 3503596"/>
              <a:gd name="connsiteY1" fmla="*/ 0 h 2850080"/>
              <a:gd name="connsiteX2" fmla="*/ 3503596 w 3503596"/>
              <a:gd name="connsiteY2" fmla="*/ 2850080 h 2850080"/>
              <a:gd name="connsiteX3" fmla="*/ 0 w 3503596"/>
              <a:gd name="connsiteY3" fmla="*/ 2850080 h 2850080"/>
              <a:gd name="connsiteX4" fmla="*/ 0 w 3503596"/>
              <a:gd name="connsiteY4" fmla="*/ 0 h 2850080"/>
              <a:gd name="connsiteX0" fmla="*/ 0 w 3532471"/>
              <a:gd name="connsiteY0" fmla="*/ 0 h 2850080"/>
              <a:gd name="connsiteX1" fmla="*/ 3532471 w 3532471"/>
              <a:gd name="connsiteY1" fmla="*/ 1953928 h 2850080"/>
              <a:gd name="connsiteX2" fmla="*/ 3503596 w 3532471"/>
              <a:gd name="connsiteY2" fmla="*/ 2850080 h 2850080"/>
              <a:gd name="connsiteX3" fmla="*/ 0 w 3532471"/>
              <a:gd name="connsiteY3" fmla="*/ 2850080 h 2850080"/>
              <a:gd name="connsiteX4" fmla="*/ 0 w 3532471"/>
              <a:gd name="connsiteY4" fmla="*/ 0 h 2850080"/>
              <a:gd name="connsiteX0" fmla="*/ 1155031 w 3532471"/>
              <a:gd name="connsiteY0" fmla="*/ 0 h 2840455"/>
              <a:gd name="connsiteX1" fmla="*/ 3532471 w 3532471"/>
              <a:gd name="connsiteY1" fmla="*/ 1944303 h 2840455"/>
              <a:gd name="connsiteX2" fmla="*/ 3503596 w 3532471"/>
              <a:gd name="connsiteY2" fmla="*/ 2840455 h 2840455"/>
              <a:gd name="connsiteX3" fmla="*/ 0 w 3532471"/>
              <a:gd name="connsiteY3" fmla="*/ 2840455 h 2840455"/>
              <a:gd name="connsiteX4" fmla="*/ 1155031 w 3532471"/>
              <a:gd name="connsiteY4" fmla="*/ 0 h 2840455"/>
              <a:gd name="connsiteX0" fmla="*/ 1164656 w 3542096"/>
              <a:gd name="connsiteY0" fmla="*/ 8623 h 2849078"/>
              <a:gd name="connsiteX1" fmla="*/ 3542096 w 3542096"/>
              <a:gd name="connsiteY1" fmla="*/ 195292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64656 w 3542096"/>
              <a:gd name="connsiteY4" fmla="*/ 8623 h 2849078"/>
              <a:gd name="connsiteX0" fmla="*/ 1164656 w 3542096"/>
              <a:gd name="connsiteY0" fmla="*/ 8623 h 2849078"/>
              <a:gd name="connsiteX1" fmla="*/ 3542096 w 3542096"/>
              <a:gd name="connsiteY1" fmla="*/ 193387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64656 w 3542096"/>
              <a:gd name="connsiteY4" fmla="*/ 8623 h 2849078"/>
              <a:gd name="connsiteX0" fmla="*/ 1177356 w 3542096"/>
              <a:gd name="connsiteY0" fmla="*/ 2273 h 2849078"/>
              <a:gd name="connsiteX1" fmla="*/ 3542096 w 3542096"/>
              <a:gd name="connsiteY1" fmla="*/ 193387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77356 w 3542096"/>
              <a:gd name="connsiteY4" fmla="*/ 2273 h 2849078"/>
              <a:gd name="connsiteX0" fmla="*/ 1202756 w 3567496"/>
              <a:gd name="connsiteY0" fmla="*/ 2273 h 2849078"/>
              <a:gd name="connsiteX1" fmla="*/ 3567496 w 3567496"/>
              <a:gd name="connsiteY1" fmla="*/ 1933876 h 2849078"/>
              <a:gd name="connsiteX2" fmla="*/ 3538621 w 3567496"/>
              <a:gd name="connsiteY2" fmla="*/ 2849078 h 2849078"/>
              <a:gd name="connsiteX3" fmla="*/ 0 w 3567496"/>
              <a:gd name="connsiteY3" fmla="*/ 0 h 2849078"/>
              <a:gd name="connsiteX4" fmla="*/ 1202756 w 3567496"/>
              <a:gd name="connsiteY4" fmla="*/ 2273 h 2849078"/>
              <a:gd name="connsiteX0" fmla="*/ 1202756 w 3579896"/>
              <a:gd name="connsiteY0" fmla="*/ 2273 h 2912578"/>
              <a:gd name="connsiteX1" fmla="*/ 3567496 w 3579896"/>
              <a:gd name="connsiteY1" fmla="*/ 1933876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202756 w 3579896"/>
              <a:gd name="connsiteY4" fmla="*/ 2273 h 2912578"/>
              <a:gd name="connsiteX0" fmla="*/ 1232978 w 3579896"/>
              <a:gd name="connsiteY0" fmla="*/ 46380 h 2912578"/>
              <a:gd name="connsiteX1" fmla="*/ 3567496 w 3579896"/>
              <a:gd name="connsiteY1" fmla="*/ 1933876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232978 w 3579896"/>
              <a:gd name="connsiteY4" fmla="*/ 46380 h 2912578"/>
              <a:gd name="connsiteX0" fmla="*/ 1383249 w 3579896"/>
              <a:gd name="connsiteY0" fmla="*/ 129300 h 2912578"/>
              <a:gd name="connsiteX1" fmla="*/ 3567496 w 3579896"/>
              <a:gd name="connsiteY1" fmla="*/ 1933876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383249 w 3579896"/>
              <a:gd name="connsiteY4" fmla="*/ 129300 h 2912578"/>
              <a:gd name="connsiteX0" fmla="*/ 1383249 w 3579896"/>
              <a:gd name="connsiteY0" fmla="*/ 129300 h 2912578"/>
              <a:gd name="connsiteX1" fmla="*/ 3423001 w 3579896"/>
              <a:gd name="connsiteY1" fmla="*/ 1816535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383249 w 3579896"/>
              <a:gd name="connsiteY4" fmla="*/ 129300 h 2912578"/>
              <a:gd name="connsiteX0" fmla="*/ 1383249 w 3579896"/>
              <a:gd name="connsiteY0" fmla="*/ 129300 h 2912578"/>
              <a:gd name="connsiteX1" fmla="*/ 3434980 w 3579896"/>
              <a:gd name="connsiteY1" fmla="*/ 1816485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383249 w 3579896"/>
              <a:gd name="connsiteY4" fmla="*/ 129300 h 2912578"/>
              <a:gd name="connsiteX0" fmla="*/ 1425636 w 3579896"/>
              <a:gd name="connsiteY0" fmla="*/ 202841 h 2912578"/>
              <a:gd name="connsiteX1" fmla="*/ 3434980 w 3579896"/>
              <a:gd name="connsiteY1" fmla="*/ 1816485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425636 w 3579896"/>
              <a:gd name="connsiteY4" fmla="*/ 202841 h 2912578"/>
              <a:gd name="connsiteX0" fmla="*/ 1383315 w 3579896"/>
              <a:gd name="connsiteY0" fmla="*/ 139132 h 2912578"/>
              <a:gd name="connsiteX1" fmla="*/ 3434980 w 3579896"/>
              <a:gd name="connsiteY1" fmla="*/ 1816485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383315 w 3579896"/>
              <a:gd name="connsiteY4" fmla="*/ 139132 h 2912578"/>
              <a:gd name="connsiteX0" fmla="*/ 1191507 w 3388088"/>
              <a:gd name="connsiteY0" fmla="*/ 120275 h 2893721"/>
              <a:gd name="connsiteX1" fmla="*/ 3243172 w 3388088"/>
              <a:gd name="connsiteY1" fmla="*/ 1797628 h 2893721"/>
              <a:gd name="connsiteX2" fmla="*/ 3388088 w 3388088"/>
              <a:gd name="connsiteY2" fmla="*/ 2893721 h 2893721"/>
              <a:gd name="connsiteX3" fmla="*/ 1 w 3388088"/>
              <a:gd name="connsiteY3" fmla="*/ 1 h 2893721"/>
              <a:gd name="connsiteX4" fmla="*/ 1191507 w 3388088"/>
              <a:gd name="connsiteY4" fmla="*/ 120275 h 2893721"/>
              <a:gd name="connsiteX0" fmla="*/ 1401381 w 3597962"/>
              <a:gd name="connsiteY0" fmla="*/ 153801 h 2927247"/>
              <a:gd name="connsiteX1" fmla="*/ 3453046 w 3597962"/>
              <a:gd name="connsiteY1" fmla="*/ 1831154 h 2927247"/>
              <a:gd name="connsiteX2" fmla="*/ 3597962 w 3597962"/>
              <a:gd name="connsiteY2" fmla="*/ 2927247 h 2927247"/>
              <a:gd name="connsiteX3" fmla="*/ 2 w 3597962"/>
              <a:gd name="connsiteY3" fmla="*/ -1 h 2927247"/>
              <a:gd name="connsiteX4" fmla="*/ 1401381 w 3597962"/>
              <a:gd name="connsiteY4" fmla="*/ 153801 h 2927247"/>
              <a:gd name="connsiteX0" fmla="*/ 1413299 w 3609880"/>
              <a:gd name="connsiteY0" fmla="*/ 143921 h 2917367"/>
              <a:gd name="connsiteX1" fmla="*/ 3464964 w 3609880"/>
              <a:gd name="connsiteY1" fmla="*/ 1821274 h 2917367"/>
              <a:gd name="connsiteX2" fmla="*/ 3609880 w 3609880"/>
              <a:gd name="connsiteY2" fmla="*/ 2917367 h 2917367"/>
              <a:gd name="connsiteX3" fmla="*/ 0 w 3609880"/>
              <a:gd name="connsiteY3" fmla="*/ -1 h 2917367"/>
              <a:gd name="connsiteX4" fmla="*/ 1413299 w 3609880"/>
              <a:gd name="connsiteY4" fmla="*/ 143921 h 2917367"/>
              <a:gd name="connsiteX0" fmla="*/ 1395236 w 3609880"/>
              <a:gd name="connsiteY0" fmla="*/ 129252 h 2917367"/>
              <a:gd name="connsiteX1" fmla="*/ 3464964 w 3609880"/>
              <a:gd name="connsiteY1" fmla="*/ 1821274 h 2917367"/>
              <a:gd name="connsiteX2" fmla="*/ 3609880 w 3609880"/>
              <a:gd name="connsiteY2" fmla="*/ 2917367 h 2917367"/>
              <a:gd name="connsiteX3" fmla="*/ 0 w 3609880"/>
              <a:gd name="connsiteY3" fmla="*/ -1 h 2917367"/>
              <a:gd name="connsiteX4" fmla="*/ 1395236 w 3609880"/>
              <a:gd name="connsiteY4" fmla="*/ 129252 h 2917367"/>
              <a:gd name="connsiteX0" fmla="*/ 1413294 w 3627938"/>
              <a:gd name="connsiteY0" fmla="*/ 143918 h 2932033"/>
              <a:gd name="connsiteX1" fmla="*/ 3483022 w 3627938"/>
              <a:gd name="connsiteY1" fmla="*/ 1835940 h 2932033"/>
              <a:gd name="connsiteX2" fmla="*/ 3627938 w 3627938"/>
              <a:gd name="connsiteY2" fmla="*/ 2932033 h 2932033"/>
              <a:gd name="connsiteX3" fmla="*/ 0 w 3627938"/>
              <a:gd name="connsiteY3" fmla="*/ -1 h 2932033"/>
              <a:gd name="connsiteX4" fmla="*/ 1413294 w 3627938"/>
              <a:gd name="connsiteY4" fmla="*/ 143918 h 2932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27938" h="2932033">
                <a:moveTo>
                  <a:pt x="1413294" y="143918"/>
                </a:moveTo>
                <a:lnTo>
                  <a:pt x="3483022" y="1835940"/>
                </a:lnTo>
                <a:lnTo>
                  <a:pt x="3627938" y="2932033"/>
                </a:lnTo>
                <a:lnTo>
                  <a:pt x="0" y="-1"/>
                </a:lnTo>
                <a:lnTo>
                  <a:pt x="1413294" y="14391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err="1">
              <a:solidFill>
                <a:schemeClr val="tx1"/>
              </a:solidFill>
            </a:endParaRPr>
          </a:p>
        </p:txBody>
      </p:sp>
      <p:sp>
        <p:nvSpPr>
          <p:cNvPr id="49" name="Rechteck 12">
            <a:extLst>
              <a:ext uri="{FF2B5EF4-FFF2-40B4-BE49-F238E27FC236}">
                <a16:creationId xmlns:a16="http://schemas.microsoft.com/office/drawing/2014/main" id="{A4319606-F985-42AE-BE4F-72304ED80F33}"/>
              </a:ext>
            </a:extLst>
          </p:cNvPr>
          <p:cNvSpPr/>
          <p:nvPr/>
        </p:nvSpPr>
        <p:spPr>
          <a:xfrm rot="8117421">
            <a:off x="2511871" y="3602845"/>
            <a:ext cx="1038984" cy="1028603"/>
          </a:xfrm>
          <a:custGeom>
            <a:avLst/>
            <a:gdLst>
              <a:gd name="connsiteX0" fmla="*/ 0 w 3503596"/>
              <a:gd name="connsiteY0" fmla="*/ 0 h 2850080"/>
              <a:gd name="connsiteX1" fmla="*/ 3503596 w 3503596"/>
              <a:gd name="connsiteY1" fmla="*/ 0 h 2850080"/>
              <a:gd name="connsiteX2" fmla="*/ 3503596 w 3503596"/>
              <a:gd name="connsiteY2" fmla="*/ 2850080 h 2850080"/>
              <a:gd name="connsiteX3" fmla="*/ 0 w 3503596"/>
              <a:gd name="connsiteY3" fmla="*/ 2850080 h 2850080"/>
              <a:gd name="connsiteX4" fmla="*/ 0 w 3503596"/>
              <a:gd name="connsiteY4" fmla="*/ 0 h 2850080"/>
              <a:gd name="connsiteX0" fmla="*/ 0 w 3532471"/>
              <a:gd name="connsiteY0" fmla="*/ 0 h 2850080"/>
              <a:gd name="connsiteX1" fmla="*/ 3532471 w 3532471"/>
              <a:gd name="connsiteY1" fmla="*/ 1953928 h 2850080"/>
              <a:gd name="connsiteX2" fmla="*/ 3503596 w 3532471"/>
              <a:gd name="connsiteY2" fmla="*/ 2850080 h 2850080"/>
              <a:gd name="connsiteX3" fmla="*/ 0 w 3532471"/>
              <a:gd name="connsiteY3" fmla="*/ 2850080 h 2850080"/>
              <a:gd name="connsiteX4" fmla="*/ 0 w 3532471"/>
              <a:gd name="connsiteY4" fmla="*/ 0 h 2850080"/>
              <a:gd name="connsiteX0" fmla="*/ 1155031 w 3532471"/>
              <a:gd name="connsiteY0" fmla="*/ 0 h 2840455"/>
              <a:gd name="connsiteX1" fmla="*/ 3532471 w 3532471"/>
              <a:gd name="connsiteY1" fmla="*/ 1944303 h 2840455"/>
              <a:gd name="connsiteX2" fmla="*/ 3503596 w 3532471"/>
              <a:gd name="connsiteY2" fmla="*/ 2840455 h 2840455"/>
              <a:gd name="connsiteX3" fmla="*/ 0 w 3532471"/>
              <a:gd name="connsiteY3" fmla="*/ 2840455 h 2840455"/>
              <a:gd name="connsiteX4" fmla="*/ 1155031 w 3532471"/>
              <a:gd name="connsiteY4" fmla="*/ 0 h 2840455"/>
              <a:gd name="connsiteX0" fmla="*/ 1164656 w 3542096"/>
              <a:gd name="connsiteY0" fmla="*/ 8623 h 2849078"/>
              <a:gd name="connsiteX1" fmla="*/ 3542096 w 3542096"/>
              <a:gd name="connsiteY1" fmla="*/ 195292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64656 w 3542096"/>
              <a:gd name="connsiteY4" fmla="*/ 8623 h 2849078"/>
              <a:gd name="connsiteX0" fmla="*/ 1164656 w 3542096"/>
              <a:gd name="connsiteY0" fmla="*/ 8623 h 2849078"/>
              <a:gd name="connsiteX1" fmla="*/ 3542096 w 3542096"/>
              <a:gd name="connsiteY1" fmla="*/ 193387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64656 w 3542096"/>
              <a:gd name="connsiteY4" fmla="*/ 8623 h 2849078"/>
              <a:gd name="connsiteX0" fmla="*/ 1177356 w 3542096"/>
              <a:gd name="connsiteY0" fmla="*/ 2273 h 2849078"/>
              <a:gd name="connsiteX1" fmla="*/ 3542096 w 3542096"/>
              <a:gd name="connsiteY1" fmla="*/ 193387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77356 w 3542096"/>
              <a:gd name="connsiteY4" fmla="*/ 2273 h 2849078"/>
              <a:gd name="connsiteX0" fmla="*/ 1202756 w 3567496"/>
              <a:gd name="connsiteY0" fmla="*/ 2273 h 2849078"/>
              <a:gd name="connsiteX1" fmla="*/ 3567496 w 3567496"/>
              <a:gd name="connsiteY1" fmla="*/ 1933876 h 2849078"/>
              <a:gd name="connsiteX2" fmla="*/ 3538621 w 3567496"/>
              <a:gd name="connsiteY2" fmla="*/ 2849078 h 2849078"/>
              <a:gd name="connsiteX3" fmla="*/ 0 w 3567496"/>
              <a:gd name="connsiteY3" fmla="*/ 0 h 2849078"/>
              <a:gd name="connsiteX4" fmla="*/ 1202756 w 3567496"/>
              <a:gd name="connsiteY4" fmla="*/ 2273 h 2849078"/>
              <a:gd name="connsiteX0" fmla="*/ 1202756 w 3579896"/>
              <a:gd name="connsiteY0" fmla="*/ 2273 h 2912578"/>
              <a:gd name="connsiteX1" fmla="*/ 3567496 w 3579896"/>
              <a:gd name="connsiteY1" fmla="*/ 1933876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202756 w 3579896"/>
              <a:gd name="connsiteY4" fmla="*/ 2273 h 2912578"/>
              <a:gd name="connsiteX0" fmla="*/ 1232978 w 3579896"/>
              <a:gd name="connsiteY0" fmla="*/ 46380 h 2912578"/>
              <a:gd name="connsiteX1" fmla="*/ 3567496 w 3579896"/>
              <a:gd name="connsiteY1" fmla="*/ 1933876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232978 w 3579896"/>
              <a:gd name="connsiteY4" fmla="*/ 46380 h 2912578"/>
              <a:gd name="connsiteX0" fmla="*/ 1383249 w 3579896"/>
              <a:gd name="connsiteY0" fmla="*/ 129300 h 2912578"/>
              <a:gd name="connsiteX1" fmla="*/ 3567496 w 3579896"/>
              <a:gd name="connsiteY1" fmla="*/ 1933876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383249 w 3579896"/>
              <a:gd name="connsiteY4" fmla="*/ 129300 h 2912578"/>
              <a:gd name="connsiteX0" fmla="*/ 1383249 w 3579896"/>
              <a:gd name="connsiteY0" fmla="*/ 129300 h 2912578"/>
              <a:gd name="connsiteX1" fmla="*/ 3423001 w 3579896"/>
              <a:gd name="connsiteY1" fmla="*/ 1816535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383249 w 3579896"/>
              <a:gd name="connsiteY4" fmla="*/ 129300 h 2912578"/>
              <a:gd name="connsiteX0" fmla="*/ 1383249 w 3579896"/>
              <a:gd name="connsiteY0" fmla="*/ 129300 h 2912578"/>
              <a:gd name="connsiteX1" fmla="*/ 3434980 w 3579896"/>
              <a:gd name="connsiteY1" fmla="*/ 1816485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383249 w 3579896"/>
              <a:gd name="connsiteY4" fmla="*/ 129300 h 2912578"/>
              <a:gd name="connsiteX0" fmla="*/ 1425636 w 3579896"/>
              <a:gd name="connsiteY0" fmla="*/ 202841 h 2912578"/>
              <a:gd name="connsiteX1" fmla="*/ 3434980 w 3579896"/>
              <a:gd name="connsiteY1" fmla="*/ 1816485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425636 w 3579896"/>
              <a:gd name="connsiteY4" fmla="*/ 202841 h 2912578"/>
              <a:gd name="connsiteX0" fmla="*/ 1383315 w 3579896"/>
              <a:gd name="connsiteY0" fmla="*/ 139132 h 2912578"/>
              <a:gd name="connsiteX1" fmla="*/ 3434980 w 3579896"/>
              <a:gd name="connsiteY1" fmla="*/ 1816485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383315 w 3579896"/>
              <a:gd name="connsiteY4" fmla="*/ 139132 h 2912578"/>
              <a:gd name="connsiteX0" fmla="*/ 1191507 w 3388088"/>
              <a:gd name="connsiteY0" fmla="*/ 120275 h 2893721"/>
              <a:gd name="connsiteX1" fmla="*/ 3243172 w 3388088"/>
              <a:gd name="connsiteY1" fmla="*/ 1797628 h 2893721"/>
              <a:gd name="connsiteX2" fmla="*/ 3388088 w 3388088"/>
              <a:gd name="connsiteY2" fmla="*/ 2893721 h 2893721"/>
              <a:gd name="connsiteX3" fmla="*/ 1 w 3388088"/>
              <a:gd name="connsiteY3" fmla="*/ 1 h 2893721"/>
              <a:gd name="connsiteX4" fmla="*/ 1191507 w 3388088"/>
              <a:gd name="connsiteY4" fmla="*/ 120275 h 2893721"/>
              <a:gd name="connsiteX0" fmla="*/ 1401381 w 3597962"/>
              <a:gd name="connsiteY0" fmla="*/ 153801 h 2927247"/>
              <a:gd name="connsiteX1" fmla="*/ 3453046 w 3597962"/>
              <a:gd name="connsiteY1" fmla="*/ 1831154 h 2927247"/>
              <a:gd name="connsiteX2" fmla="*/ 3597962 w 3597962"/>
              <a:gd name="connsiteY2" fmla="*/ 2927247 h 2927247"/>
              <a:gd name="connsiteX3" fmla="*/ 2 w 3597962"/>
              <a:gd name="connsiteY3" fmla="*/ -1 h 2927247"/>
              <a:gd name="connsiteX4" fmla="*/ 1401381 w 3597962"/>
              <a:gd name="connsiteY4" fmla="*/ 153801 h 2927247"/>
              <a:gd name="connsiteX0" fmla="*/ 1413299 w 3609880"/>
              <a:gd name="connsiteY0" fmla="*/ 143921 h 2917367"/>
              <a:gd name="connsiteX1" fmla="*/ 3464964 w 3609880"/>
              <a:gd name="connsiteY1" fmla="*/ 1821274 h 2917367"/>
              <a:gd name="connsiteX2" fmla="*/ 3609880 w 3609880"/>
              <a:gd name="connsiteY2" fmla="*/ 2917367 h 2917367"/>
              <a:gd name="connsiteX3" fmla="*/ 0 w 3609880"/>
              <a:gd name="connsiteY3" fmla="*/ -1 h 2917367"/>
              <a:gd name="connsiteX4" fmla="*/ 1413299 w 3609880"/>
              <a:gd name="connsiteY4" fmla="*/ 143921 h 2917367"/>
              <a:gd name="connsiteX0" fmla="*/ 1395236 w 3609880"/>
              <a:gd name="connsiteY0" fmla="*/ 129252 h 2917367"/>
              <a:gd name="connsiteX1" fmla="*/ 3464964 w 3609880"/>
              <a:gd name="connsiteY1" fmla="*/ 1821274 h 2917367"/>
              <a:gd name="connsiteX2" fmla="*/ 3609880 w 3609880"/>
              <a:gd name="connsiteY2" fmla="*/ 2917367 h 2917367"/>
              <a:gd name="connsiteX3" fmla="*/ 0 w 3609880"/>
              <a:gd name="connsiteY3" fmla="*/ -1 h 2917367"/>
              <a:gd name="connsiteX4" fmla="*/ 1395236 w 3609880"/>
              <a:gd name="connsiteY4" fmla="*/ 129252 h 2917367"/>
              <a:gd name="connsiteX0" fmla="*/ 1413294 w 3627938"/>
              <a:gd name="connsiteY0" fmla="*/ 143918 h 2932033"/>
              <a:gd name="connsiteX1" fmla="*/ 3483022 w 3627938"/>
              <a:gd name="connsiteY1" fmla="*/ 1835940 h 2932033"/>
              <a:gd name="connsiteX2" fmla="*/ 3627938 w 3627938"/>
              <a:gd name="connsiteY2" fmla="*/ 2932033 h 2932033"/>
              <a:gd name="connsiteX3" fmla="*/ 0 w 3627938"/>
              <a:gd name="connsiteY3" fmla="*/ -1 h 2932033"/>
              <a:gd name="connsiteX4" fmla="*/ 1413294 w 3627938"/>
              <a:gd name="connsiteY4" fmla="*/ 143918 h 2932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27938" h="2932033">
                <a:moveTo>
                  <a:pt x="1413294" y="143918"/>
                </a:moveTo>
                <a:lnTo>
                  <a:pt x="3483022" y="1835940"/>
                </a:lnTo>
                <a:lnTo>
                  <a:pt x="3627938" y="2932033"/>
                </a:lnTo>
                <a:lnTo>
                  <a:pt x="0" y="-1"/>
                </a:lnTo>
                <a:lnTo>
                  <a:pt x="1413294" y="14391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err="1">
              <a:solidFill>
                <a:schemeClr val="tx1"/>
              </a:solidFill>
            </a:endParaRPr>
          </a:p>
        </p:txBody>
      </p:sp>
      <p:sp>
        <p:nvSpPr>
          <p:cNvPr id="50" name="Rechteck 12">
            <a:extLst>
              <a:ext uri="{FF2B5EF4-FFF2-40B4-BE49-F238E27FC236}">
                <a16:creationId xmlns:a16="http://schemas.microsoft.com/office/drawing/2014/main" id="{20E43304-5696-452A-95BC-468BEEB5B759}"/>
              </a:ext>
            </a:extLst>
          </p:cNvPr>
          <p:cNvSpPr/>
          <p:nvPr/>
        </p:nvSpPr>
        <p:spPr>
          <a:xfrm rot="18909287">
            <a:off x="1792302" y="2321213"/>
            <a:ext cx="1659343" cy="1639382"/>
          </a:xfrm>
          <a:custGeom>
            <a:avLst/>
            <a:gdLst>
              <a:gd name="connsiteX0" fmla="*/ 0 w 3503596"/>
              <a:gd name="connsiteY0" fmla="*/ 0 h 2850080"/>
              <a:gd name="connsiteX1" fmla="*/ 3503596 w 3503596"/>
              <a:gd name="connsiteY1" fmla="*/ 0 h 2850080"/>
              <a:gd name="connsiteX2" fmla="*/ 3503596 w 3503596"/>
              <a:gd name="connsiteY2" fmla="*/ 2850080 h 2850080"/>
              <a:gd name="connsiteX3" fmla="*/ 0 w 3503596"/>
              <a:gd name="connsiteY3" fmla="*/ 2850080 h 2850080"/>
              <a:gd name="connsiteX4" fmla="*/ 0 w 3503596"/>
              <a:gd name="connsiteY4" fmla="*/ 0 h 2850080"/>
              <a:gd name="connsiteX0" fmla="*/ 0 w 3532471"/>
              <a:gd name="connsiteY0" fmla="*/ 0 h 2850080"/>
              <a:gd name="connsiteX1" fmla="*/ 3532471 w 3532471"/>
              <a:gd name="connsiteY1" fmla="*/ 1953928 h 2850080"/>
              <a:gd name="connsiteX2" fmla="*/ 3503596 w 3532471"/>
              <a:gd name="connsiteY2" fmla="*/ 2850080 h 2850080"/>
              <a:gd name="connsiteX3" fmla="*/ 0 w 3532471"/>
              <a:gd name="connsiteY3" fmla="*/ 2850080 h 2850080"/>
              <a:gd name="connsiteX4" fmla="*/ 0 w 3532471"/>
              <a:gd name="connsiteY4" fmla="*/ 0 h 2850080"/>
              <a:gd name="connsiteX0" fmla="*/ 1155031 w 3532471"/>
              <a:gd name="connsiteY0" fmla="*/ 0 h 2840455"/>
              <a:gd name="connsiteX1" fmla="*/ 3532471 w 3532471"/>
              <a:gd name="connsiteY1" fmla="*/ 1944303 h 2840455"/>
              <a:gd name="connsiteX2" fmla="*/ 3503596 w 3532471"/>
              <a:gd name="connsiteY2" fmla="*/ 2840455 h 2840455"/>
              <a:gd name="connsiteX3" fmla="*/ 0 w 3532471"/>
              <a:gd name="connsiteY3" fmla="*/ 2840455 h 2840455"/>
              <a:gd name="connsiteX4" fmla="*/ 1155031 w 3532471"/>
              <a:gd name="connsiteY4" fmla="*/ 0 h 2840455"/>
              <a:gd name="connsiteX0" fmla="*/ 1164656 w 3542096"/>
              <a:gd name="connsiteY0" fmla="*/ 8623 h 2849078"/>
              <a:gd name="connsiteX1" fmla="*/ 3542096 w 3542096"/>
              <a:gd name="connsiteY1" fmla="*/ 195292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64656 w 3542096"/>
              <a:gd name="connsiteY4" fmla="*/ 8623 h 2849078"/>
              <a:gd name="connsiteX0" fmla="*/ 1164656 w 3542096"/>
              <a:gd name="connsiteY0" fmla="*/ 8623 h 2849078"/>
              <a:gd name="connsiteX1" fmla="*/ 3542096 w 3542096"/>
              <a:gd name="connsiteY1" fmla="*/ 193387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64656 w 3542096"/>
              <a:gd name="connsiteY4" fmla="*/ 8623 h 2849078"/>
              <a:gd name="connsiteX0" fmla="*/ 1177356 w 3542096"/>
              <a:gd name="connsiteY0" fmla="*/ 2273 h 2849078"/>
              <a:gd name="connsiteX1" fmla="*/ 3542096 w 3542096"/>
              <a:gd name="connsiteY1" fmla="*/ 193387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77356 w 3542096"/>
              <a:gd name="connsiteY4" fmla="*/ 2273 h 2849078"/>
              <a:gd name="connsiteX0" fmla="*/ 1202756 w 3567496"/>
              <a:gd name="connsiteY0" fmla="*/ 2273 h 2849078"/>
              <a:gd name="connsiteX1" fmla="*/ 3567496 w 3567496"/>
              <a:gd name="connsiteY1" fmla="*/ 1933876 h 2849078"/>
              <a:gd name="connsiteX2" fmla="*/ 3538621 w 3567496"/>
              <a:gd name="connsiteY2" fmla="*/ 2849078 h 2849078"/>
              <a:gd name="connsiteX3" fmla="*/ 0 w 3567496"/>
              <a:gd name="connsiteY3" fmla="*/ 0 h 2849078"/>
              <a:gd name="connsiteX4" fmla="*/ 1202756 w 3567496"/>
              <a:gd name="connsiteY4" fmla="*/ 2273 h 2849078"/>
              <a:gd name="connsiteX0" fmla="*/ 1202756 w 3579896"/>
              <a:gd name="connsiteY0" fmla="*/ 2273 h 2912578"/>
              <a:gd name="connsiteX1" fmla="*/ 3567496 w 3579896"/>
              <a:gd name="connsiteY1" fmla="*/ 1933876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202756 w 3579896"/>
              <a:gd name="connsiteY4" fmla="*/ 2273 h 2912578"/>
              <a:gd name="connsiteX0" fmla="*/ 1232978 w 3579896"/>
              <a:gd name="connsiteY0" fmla="*/ 46380 h 2912578"/>
              <a:gd name="connsiteX1" fmla="*/ 3567496 w 3579896"/>
              <a:gd name="connsiteY1" fmla="*/ 1933876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232978 w 3579896"/>
              <a:gd name="connsiteY4" fmla="*/ 46380 h 2912578"/>
              <a:gd name="connsiteX0" fmla="*/ 1383249 w 3579896"/>
              <a:gd name="connsiteY0" fmla="*/ 129300 h 2912578"/>
              <a:gd name="connsiteX1" fmla="*/ 3567496 w 3579896"/>
              <a:gd name="connsiteY1" fmla="*/ 1933876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383249 w 3579896"/>
              <a:gd name="connsiteY4" fmla="*/ 129300 h 2912578"/>
              <a:gd name="connsiteX0" fmla="*/ 1383249 w 3579896"/>
              <a:gd name="connsiteY0" fmla="*/ 129300 h 2912578"/>
              <a:gd name="connsiteX1" fmla="*/ 3423001 w 3579896"/>
              <a:gd name="connsiteY1" fmla="*/ 1816535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383249 w 3579896"/>
              <a:gd name="connsiteY4" fmla="*/ 129300 h 2912578"/>
              <a:gd name="connsiteX0" fmla="*/ 1383249 w 3579896"/>
              <a:gd name="connsiteY0" fmla="*/ 129300 h 2912578"/>
              <a:gd name="connsiteX1" fmla="*/ 3434980 w 3579896"/>
              <a:gd name="connsiteY1" fmla="*/ 1816485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383249 w 3579896"/>
              <a:gd name="connsiteY4" fmla="*/ 129300 h 2912578"/>
              <a:gd name="connsiteX0" fmla="*/ 1425636 w 3579896"/>
              <a:gd name="connsiteY0" fmla="*/ 202841 h 2912578"/>
              <a:gd name="connsiteX1" fmla="*/ 3434980 w 3579896"/>
              <a:gd name="connsiteY1" fmla="*/ 1816485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425636 w 3579896"/>
              <a:gd name="connsiteY4" fmla="*/ 202841 h 2912578"/>
              <a:gd name="connsiteX0" fmla="*/ 1383315 w 3579896"/>
              <a:gd name="connsiteY0" fmla="*/ 139132 h 2912578"/>
              <a:gd name="connsiteX1" fmla="*/ 3434980 w 3579896"/>
              <a:gd name="connsiteY1" fmla="*/ 1816485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383315 w 3579896"/>
              <a:gd name="connsiteY4" fmla="*/ 139132 h 2912578"/>
              <a:gd name="connsiteX0" fmla="*/ 1191507 w 3388088"/>
              <a:gd name="connsiteY0" fmla="*/ 120275 h 2893721"/>
              <a:gd name="connsiteX1" fmla="*/ 3243172 w 3388088"/>
              <a:gd name="connsiteY1" fmla="*/ 1797628 h 2893721"/>
              <a:gd name="connsiteX2" fmla="*/ 3388088 w 3388088"/>
              <a:gd name="connsiteY2" fmla="*/ 2893721 h 2893721"/>
              <a:gd name="connsiteX3" fmla="*/ 1 w 3388088"/>
              <a:gd name="connsiteY3" fmla="*/ 1 h 2893721"/>
              <a:gd name="connsiteX4" fmla="*/ 1191507 w 3388088"/>
              <a:gd name="connsiteY4" fmla="*/ 120275 h 2893721"/>
              <a:gd name="connsiteX0" fmla="*/ 1401381 w 3597962"/>
              <a:gd name="connsiteY0" fmla="*/ 153801 h 2927247"/>
              <a:gd name="connsiteX1" fmla="*/ 3453046 w 3597962"/>
              <a:gd name="connsiteY1" fmla="*/ 1831154 h 2927247"/>
              <a:gd name="connsiteX2" fmla="*/ 3597962 w 3597962"/>
              <a:gd name="connsiteY2" fmla="*/ 2927247 h 2927247"/>
              <a:gd name="connsiteX3" fmla="*/ 2 w 3597962"/>
              <a:gd name="connsiteY3" fmla="*/ -1 h 2927247"/>
              <a:gd name="connsiteX4" fmla="*/ 1401381 w 3597962"/>
              <a:gd name="connsiteY4" fmla="*/ 153801 h 2927247"/>
              <a:gd name="connsiteX0" fmla="*/ 1413299 w 3609880"/>
              <a:gd name="connsiteY0" fmla="*/ 143921 h 2917367"/>
              <a:gd name="connsiteX1" fmla="*/ 3464964 w 3609880"/>
              <a:gd name="connsiteY1" fmla="*/ 1821274 h 2917367"/>
              <a:gd name="connsiteX2" fmla="*/ 3609880 w 3609880"/>
              <a:gd name="connsiteY2" fmla="*/ 2917367 h 2917367"/>
              <a:gd name="connsiteX3" fmla="*/ 0 w 3609880"/>
              <a:gd name="connsiteY3" fmla="*/ -1 h 2917367"/>
              <a:gd name="connsiteX4" fmla="*/ 1413299 w 3609880"/>
              <a:gd name="connsiteY4" fmla="*/ 143921 h 2917367"/>
              <a:gd name="connsiteX0" fmla="*/ 1395236 w 3609880"/>
              <a:gd name="connsiteY0" fmla="*/ 129252 h 2917367"/>
              <a:gd name="connsiteX1" fmla="*/ 3464964 w 3609880"/>
              <a:gd name="connsiteY1" fmla="*/ 1821274 h 2917367"/>
              <a:gd name="connsiteX2" fmla="*/ 3609880 w 3609880"/>
              <a:gd name="connsiteY2" fmla="*/ 2917367 h 2917367"/>
              <a:gd name="connsiteX3" fmla="*/ 0 w 3609880"/>
              <a:gd name="connsiteY3" fmla="*/ -1 h 2917367"/>
              <a:gd name="connsiteX4" fmla="*/ 1395236 w 3609880"/>
              <a:gd name="connsiteY4" fmla="*/ 129252 h 2917367"/>
              <a:gd name="connsiteX0" fmla="*/ 1413294 w 3627938"/>
              <a:gd name="connsiteY0" fmla="*/ 143918 h 2932033"/>
              <a:gd name="connsiteX1" fmla="*/ 3483022 w 3627938"/>
              <a:gd name="connsiteY1" fmla="*/ 1835940 h 2932033"/>
              <a:gd name="connsiteX2" fmla="*/ 3627938 w 3627938"/>
              <a:gd name="connsiteY2" fmla="*/ 2932033 h 2932033"/>
              <a:gd name="connsiteX3" fmla="*/ 0 w 3627938"/>
              <a:gd name="connsiteY3" fmla="*/ -1 h 2932033"/>
              <a:gd name="connsiteX4" fmla="*/ 1413294 w 3627938"/>
              <a:gd name="connsiteY4" fmla="*/ 143918 h 2932033"/>
              <a:gd name="connsiteX0" fmla="*/ 1413294 w 4505147"/>
              <a:gd name="connsiteY0" fmla="*/ 143918 h 3570188"/>
              <a:gd name="connsiteX1" fmla="*/ 3483022 w 4505147"/>
              <a:gd name="connsiteY1" fmla="*/ 1835940 h 3570188"/>
              <a:gd name="connsiteX2" fmla="*/ 4505147 w 4505147"/>
              <a:gd name="connsiteY2" fmla="*/ 3570187 h 3570188"/>
              <a:gd name="connsiteX3" fmla="*/ 0 w 4505147"/>
              <a:gd name="connsiteY3" fmla="*/ -1 h 3570188"/>
              <a:gd name="connsiteX4" fmla="*/ 1413294 w 4505147"/>
              <a:gd name="connsiteY4" fmla="*/ 143918 h 3570188"/>
              <a:gd name="connsiteX0" fmla="*/ 1413294 w 4505147"/>
              <a:gd name="connsiteY0" fmla="*/ 143918 h 3570188"/>
              <a:gd name="connsiteX1" fmla="*/ 4403248 w 4505147"/>
              <a:gd name="connsiteY1" fmla="*/ 2770942 h 3570188"/>
              <a:gd name="connsiteX2" fmla="*/ 4505147 w 4505147"/>
              <a:gd name="connsiteY2" fmla="*/ 3570187 h 3570188"/>
              <a:gd name="connsiteX3" fmla="*/ 0 w 4505147"/>
              <a:gd name="connsiteY3" fmla="*/ -1 h 3570188"/>
              <a:gd name="connsiteX4" fmla="*/ 1413294 w 4505147"/>
              <a:gd name="connsiteY4" fmla="*/ 143918 h 3570188"/>
              <a:gd name="connsiteX0" fmla="*/ 1268490 w 4505147"/>
              <a:gd name="connsiteY0" fmla="*/ 379192 h 3570188"/>
              <a:gd name="connsiteX1" fmla="*/ 4403248 w 4505147"/>
              <a:gd name="connsiteY1" fmla="*/ 2770942 h 3570188"/>
              <a:gd name="connsiteX2" fmla="*/ 4505147 w 4505147"/>
              <a:gd name="connsiteY2" fmla="*/ 3570187 h 3570188"/>
              <a:gd name="connsiteX3" fmla="*/ 0 w 4505147"/>
              <a:gd name="connsiteY3" fmla="*/ -1 h 3570188"/>
              <a:gd name="connsiteX4" fmla="*/ 1268490 w 4505147"/>
              <a:gd name="connsiteY4" fmla="*/ 379192 h 3570188"/>
              <a:gd name="connsiteX0" fmla="*/ 1079461 w 4505147"/>
              <a:gd name="connsiteY0" fmla="*/ 126942 h 3570188"/>
              <a:gd name="connsiteX1" fmla="*/ 4403248 w 4505147"/>
              <a:gd name="connsiteY1" fmla="*/ 2770942 h 3570188"/>
              <a:gd name="connsiteX2" fmla="*/ 4505147 w 4505147"/>
              <a:gd name="connsiteY2" fmla="*/ 3570187 h 3570188"/>
              <a:gd name="connsiteX3" fmla="*/ 0 w 4505147"/>
              <a:gd name="connsiteY3" fmla="*/ -1 h 3570188"/>
              <a:gd name="connsiteX4" fmla="*/ 1079461 w 4505147"/>
              <a:gd name="connsiteY4" fmla="*/ 126942 h 3570188"/>
              <a:gd name="connsiteX0" fmla="*/ 1079461 w 4505147"/>
              <a:gd name="connsiteY0" fmla="*/ 126942 h 3570188"/>
              <a:gd name="connsiteX1" fmla="*/ 4407746 w 4505147"/>
              <a:gd name="connsiteY1" fmla="*/ 2759921 h 3570188"/>
              <a:gd name="connsiteX2" fmla="*/ 4505147 w 4505147"/>
              <a:gd name="connsiteY2" fmla="*/ 3570187 h 3570188"/>
              <a:gd name="connsiteX3" fmla="*/ 0 w 4505147"/>
              <a:gd name="connsiteY3" fmla="*/ -1 h 3570188"/>
              <a:gd name="connsiteX4" fmla="*/ 1079461 w 4505147"/>
              <a:gd name="connsiteY4" fmla="*/ 126942 h 3570188"/>
              <a:gd name="connsiteX0" fmla="*/ 1102303 w 4505147"/>
              <a:gd name="connsiteY0" fmla="*/ 123226 h 3570188"/>
              <a:gd name="connsiteX1" fmla="*/ 4407746 w 4505147"/>
              <a:gd name="connsiteY1" fmla="*/ 2759921 h 3570188"/>
              <a:gd name="connsiteX2" fmla="*/ 4505147 w 4505147"/>
              <a:gd name="connsiteY2" fmla="*/ 3570187 h 3570188"/>
              <a:gd name="connsiteX3" fmla="*/ 0 w 4505147"/>
              <a:gd name="connsiteY3" fmla="*/ -1 h 3570188"/>
              <a:gd name="connsiteX4" fmla="*/ 1102303 w 4505147"/>
              <a:gd name="connsiteY4" fmla="*/ 123226 h 3570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05147" h="3570188">
                <a:moveTo>
                  <a:pt x="1102303" y="123226"/>
                </a:moveTo>
                <a:lnTo>
                  <a:pt x="4407746" y="2759921"/>
                </a:lnTo>
                <a:lnTo>
                  <a:pt x="4505147" y="3570187"/>
                </a:lnTo>
                <a:lnTo>
                  <a:pt x="0" y="-1"/>
                </a:lnTo>
                <a:lnTo>
                  <a:pt x="1102303" y="123226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err="1">
              <a:solidFill>
                <a:schemeClr val="tx1"/>
              </a:solidFill>
            </a:endParaRP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015E8A66-9FF2-46FF-BB24-1EED97909F95}"/>
              </a:ext>
            </a:extLst>
          </p:cNvPr>
          <p:cNvSpPr txBox="1"/>
          <p:nvPr/>
        </p:nvSpPr>
        <p:spPr>
          <a:xfrm>
            <a:off x="2261936" y="2871604"/>
            <a:ext cx="1674796" cy="57060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srgbClr val="6A000E"/>
                </a:solidFill>
                <a:effectLst/>
                <a:uLnTx/>
                <a:uFillTx/>
                <a:latin typeface="Porsche Next TT"/>
                <a:ea typeface="+mn-ea"/>
              </a:rPr>
              <a:t>14k/</a:t>
            </a:r>
            <a:r>
              <a:rPr lang="de-DE" b="1">
                <a:solidFill>
                  <a:srgbClr val="6A000E"/>
                </a:solidFill>
                <a:latin typeface="Porsche Next TT"/>
              </a:rPr>
              <a:t>Monat</a:t>
            </a:r>
            <a:endParaRPr kumimoji="0" lang="de-DE" sz="1800" b="1" i="0" u="none" strike="noStrike" kern="1200" cap="none" spc="0" normalizeH="0" baseline="0" noProof="0">
              <a:ln>
                <a:noFill/>
              </a:ln>
              <a:solidFill>
                <a:srgbClr val="6A000E"/>
              </a:solidFill>
              <a:effectLst/>
              <a:uLnTx/>
              <a:uFillTx/>
              <a:latin typeface="Porsche Next TT"/>
              <a:ea typeface="+mn-ea"/>
            </a:endParaRPr>
          </a:p>
          <a:p>
            <a:endParaRPr lang="de-DE" b="1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52" name="Rechteck 12">
            <a:extLst>
              <a:ext uri="{FF2B5EF4-FFF2-40B4-BE49-F238E27FC236}">
                <a16:creationId xmlns:a16="http://schemas.microsoft.com/office/drawing/2014/main" id="{06AA85D3-30CC-47AC-8914-889DF8F85AA3}"/>
              </a:ext>
            </a:extLst>
          </p:cNvPr>
          <p:cNvSpPr/>
          <p:nvPr/>
        </p:nvSpPr>
        <p:spPr>
          <a:xfrm rot="18904130">
            <a:off x="2144328" y="2266482"/>
            <a:ext cx="971552" cy="961332"/>
          </a:xfrm>
          <a:custGeom>
            <a:avLst/>
            <a:gdLst>
              <a:gd name="connsiteX0" fmla="*/ 0 w 3503596"/>
              <a:gd name="connsiteY0" fmla="*/ 0 h 2850080"/>
              <a:gd name="connsiteX1" fmla="*/ 3503596 w 3503596"/>
              <a:gd name="connsiteY1" fmla="*/ 0 h 2850080"/>
              <a:gd name="connsiteX2" fmla="*/ 3503596 w 3503596"/>
              <a:gd name="connsiteY2" fmla="*/ 2850080 h 2850080"/>
              <a:gd name="connsiteX3" fmla="*/ 0 w 3503596"/>
              <a:gd name="connsiteY3" fmla="*/ 2850080 h 2850080"/>
              <a:gd name="connsiteX4" fmla="*/ 0 w 3503596"/>
              <a:gd name="connsiteY4" fmla="*/ 0 h 2850080"/>
              <a:gd name="connsiteX0" fmla="*/ 0 w 3532471"/>
              <a:gd name="connsiteY0" fmla="*/ 0 h 2850080"/>
              <a:gd name="connsiteX1" fmla="*/ 3532471 w 3532471"/>
              <a:gd name="connsiteY1" fmla="*/ 1953928 h 2850080"/>
              <a:gd name="connsiteX2" fmla="*/ 3503596 w 3532471"/>
              <a:gd name="connsiteY2" fmla="*/ 2850080 h 2850080"/>
              <a:gd name="connsiteX3" fmla="*/ 0 w 3532471"/>
              <a:gd name="connsiteY3" fmla="*/ 2850080 h 2850080"/>
              <a:gd name="connsiteX4" fmla="*/ 0 w 3532471"/>
              <a:gd name="connsiteY4" fmla="*/ 0 h 2850080"/>
              <a:gd name="connsiteX0" fmla="*/ 1155031 w 3532471"/>
              <a:gd name="connsiteY0" fmla="*/ 0 h 2840455"/>
              <a:gd name="connsiteX1" fmla="*/ 3532471 w 3532471"/>
              <a:gd name="connsiteY1" fmla="*/ 1944303 h 2840455"/>
              <a:gd name="connsiteX2" fmla="*/ 3503596 w 3532471"/>
              <a:gd name="connsiteY2" fmla="*/ 2840455 h 2840455"/>
              <a:gd name="connsiteX3" fmla="*/ 0 w 3532471"/>
              <a:gd name="connsiteY3" fmla="*/ 2840455 h 2840455"/>
              <a:gd name="connsiteX4" fmla="*/ 1155031 w 3532471"/>
              <a:gd name="connsiteY4" fmla="*/ 0 h 2840455"/>
              <a:gd name="connsiteX0" fmla="*/ 1164656 w 3542096"/>
              <a:gd name="connsiteY0" fmla="*/ 8623 h 2849078"/>
              <a:gd name="connsiteX1" fmla="*/ 3542096 w 3542096"/>
              <a:gd name="connsiteY1" fmla="*/ 195292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64656 w 3542096"/>
              <a:gd name="connsiteY4" fmla="*/ 8623 h 2849078"/>
              <a:gd name="connsiteX0" fmla="*/ 1164656 w 3542096"/>
              <a:gd name="connsiteY0" fmla="*/ 8623 h 2849078"/>
              <a:gd name="connsiteX1" fmla="*/ 3542096 w 3542096"/>
              <a:gd name="connsiteY1" fmla="*/ 193387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64656 w 3542096"/>
              <a:gd name="connsiteY4" fmla="*/ 8623 h 2849078"/>
              <a:gd name="connsiteX0" fmla="*/ 1177356 w 3542096"/>
              <a:gd name="connsiteY0" fmla="*/ 2273 h 2849078"/>
              <a:gd name="connsiteX1" fmla="*/ 3542096 w 3542096"/>
              <a:gd name="connsiteY1" fmla="*/ 193387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77356 w 3542096"/>
              <a:gd name="connsiteY4" fmla="*/ 2273 h 2849078"/>
              <a:gd name="connsiteX0" fmla="*/ 1202756 w 3567496"/>
              <a:gd name="connsiteY0" fmla="*/ 2273 h 2849078"/>
              <a:gd name="connsiteX1" fmla="*/ 3567496 w 3567496"/>
              <a:gd name="connsiteY1" fmla="*/ 1933876 h 2849078"/>
              <a:gd name="connsiteX2" fmla="*/ 3538621 w 3567496"/>
              <a:gd name="connsiteY2" fmla="*/ 2849078 h 2849078"/>
              <a:gd name="connsiteX3" fmla="*/ 0 w 3567496"/>
              <a:gd name="connsiteY3" fmla="*/ 0 h 2849078"/>
              <a:gd name="connsiteX4" fmla="*/ 1202756 w 3567496"/>
              <a:gd name="connsiteY4" fmla="*/ 2273 h 2849078"/>
              <a:gd name="connsiteX0" fmla="*/ 1202756 w 3579896"/>
              <a:gd name="connsiteY0" fmla="*/ 2273 h 2912578"/>
              <a:gd name="connsiteX1" fmla="*/ 3567496 w 3579896"/>
              <a:gd name="connsiteY1" fmla="*/ 1933876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202756 w 3579896"/>
              <a:gd name="connsiteY4" fmla="*/ 2273 h 2912578"/>
              <a:gd name="connsiteX0" fmla="*/ 1232978 w 3579896"/>
              <a:gd name="connsiteY0" fmla="*/ 46380 h 2912578"/>
              <a:gd name="connsiteX1" fmla="*/ 3567496 w 3579896"/>
              <a:gd name="connsiteY1" fmla="*/ 1933876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232978 w 3579896"/>
              <a:gd name="connsiteY4" fmla="*/ 46380 h 2912578"/>
              <a:gd name="connsiteX0" fmla="*/ 1383249 w 3579896"/>
              <a:gd name="connsiteY0" fmla="*/ 129300 h 2912578"/>
              <a:gd name="connsiteX1" fmla="*/ 3567496 w 3579896"/>
              <a:gd name="connsiteY1" fmla="*/ 1933876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383249 w 3579896"/>
              <a:gd name="connsiteY4" fmla="*/ 129300 h 2912578"/>
              <a:gd name="connsiteX0" fmla="*/ 1383249 w 3579896"/>
              <a:gd name="connsiteY0" fmla="*/ 129300 h 2912578"/>
              <a:gd name="connsiteX1" fmla="*/ 3423001 w 3579896"/>
              <a:gd name="connsiteY1" fmla="*/ 1816535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383249 w 3579896"/>
              <a:gd name="connsiteY4" fmla="*/ 129300 h 2912578"/>
              <a:gd name="connsiteX0" fmla="*/ 1383249 w 3579896"/>
              <a:gd name="connsiteY0" fmla="*/ 129300 h 2912578"/>
              <a:gd name="connsiteX1" fmla="*/ 3434980 w 3579896"/>
              <a:gd name="connsiteY1" fmla="*/ 1816485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383249 w 3579896"/>
              <a:gd name="connsiteY4" fmla="*/ 129300 h 2912578"/>
              <a:gd name="connsiteX0" fmla="*/ 1425636 w 3579896"/>
              <a:gd name="connsiteY0" fmla="*/ 202841 h 2912578"/>
              <a:gd name="connsiteX1" fmla="*/ 3434980 w 3579896"/>
              <a:gd name="connsiteY1" fmla="*/ 1816485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425636 w 3579896"/>
              <a:gd name="connsiteY4" fmla="*/ 202841 h 2912578"/>
              <a:gd name="connsiteX0" fmla="*/ 1383315 w 3579896"/>
              <a:gd name="connsiteY0" fmla="*/ 139132 h 2912578"/>
              <a:gd name="connsiteX1" fmla="*/ 3434980 w 3579896"/>
              <a:gd name="connsiteY1" fmla="*/ 1816485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383315 w 3579896"/>
              <a:gd name="connsiteY4" fmla="*/ 139132 h 2912578"/>
              <a:gd name="connsiteX0" fmla="*/ 1191507 w 3388088"/>
              <a:gd name="connsiteY0" fmla="*/ 120275 h 2893721"/>
              <a:gd name="connsiteX1" fmla="*/ 3243172 w 3388088"/>
              <a:gd name="connsiteY1" fmla="*/ 1797628 h 2893721"/>
              <a:gd name="connsiteX2" fmla="*/ 3388088 w 3388088"/>
              <a:gd name="connsiteY2" fmla="*/ 2893721 h 2893721"/>
              <a:gd name="connsiteX3" fmla="*/ 1 w 3388088"/>
              <a:gd name="connsiteY3" fmla="*/ 1 h 2893721"/>
              <a:gd name="connsiteX4" fmla="*/ 1191507 w 3388088"/>
              <a:gd name="connsiteY4" fmla="*/ 120275 h 2893721"/>
              <a:gd name="connsiteX0" fmla="*/ 1401381 w 3597962"/>
              <a:gd name="connsiteY0" fmla="*/ 153801 h 2927247"/>
              <a:gd name="connsiteX1" fmla="*/ 3453046 w 3597962"/>
              <a:gd name="connsiteY1" fmla="*/ 1831154 h 2927247"/>
              <a:gd name="connsiteX2" fmla="*/ 3597962 w 3597962"/>
              <a:gd name="connsiteY2" fmla="*/ 2927247 h 2927247"/>
              <a:gd name="connsiteX3" fmla="*/ 2 w 3597962"/>
              <a:gd name="connsiteY3" fmla="*/ -1 h 2927247"/>
              <a:gd name="connsiteX4" fmla="*/ 1401381 w 3597962"/>
              <a:gd name="connsiteY4" fmla="*/ 153801 h 2927247"/>
              <a:gd name="connsiteX0" fmla="*/ 1413299 w 3609880"/>
              <a:gd name="connsiteY0" fmla="*/ 143921 h 2917367"/>
              <a:gd name="connsiteX1" fmla="*/ 3464964 w 3609880"/>
              <a:gd name="connsiteY1" fmla="*/ 1821274 h 2917367"/>
              <a:gd name="connsiteX2" fmla="*/ 3609880 w 3609880"/>
              <a:gd name="connsiteY2" fmla="*/ 2917367 h 2917367"/>
              <a:gd name="connsiteX3" fmla="*/ 0 w 3609880"/>
              <a:gd name="connsiteY3" fmla="*/ -1 h 2917367"/>
              <a:gd name="connsiteX4" fmla="*/ 1413299 w 3609880"/>
              <a:gd name="connsiteY4" fmla="*/ 143921 h 2917367"/>
              <a:gd name="connsiteX0" fmla="*/ 1395236 w 3609880"/>
              <a:gd name="connsiteY0" fmla="*/ 129252 h 2917367"/>
              <a:gd name="connsiteX1" fmla="*/ 3464964 w 3609880"/>
              <a:gd name="connsiteY1" fmla="*/ 1821274 h 2917367"/>
              <a:gd name="connsiteX2" fmla="*/ 3609880 w 3609880"/>
              <a:gd name="connsiteY2" fmla="*/ 2917367 h 2917367"/>
              <a:gd name="connsiteX3" fmla="*/ 0 w 3609880"/>
              <a:gd name="connsiteY3" fmla="*/ -1 h 2917367"/>
              <a:gd name="connsiteX4" fmla="*/ 1395236 w 3609880"/>
              <a:gd name="connsiteY4" fmla="*/ 129252 h 2917367"/>
              <a:gd name="connsiteX0" fmla="*/ 1413294 w 3627938"/>
              <a:gd name="connsiteY0" fmla="*/ 143918 h 2932033"/>
              <a:gd name="connsiteX1" fmla="*/ 3483022 w 3627938"/>
              <a:gd name="connsiteY1" fmla="*/ 1835940 h 2932033"/>
              <a:gd name="connsiteX2" fmla="*/ 3627938 w 3627938"/>
              <a:gd name="connsiteY2" fmla="*/ 2932033 h 2932033"/>
              <a:gd name="connsiteX3" fmla="*/ 0 w 3627938"/>
              <a:gd name="connsiteY3" fmla="*/ -1 h 2932033"/>
              <a:gd name="connsiteX4" fmla="*/ 1413294 w 3627938"/>
              <a:gd name="connsiteY4" fmla="*/ 143918 h 2932033"/>
              <a:gd name="connsiteX0" fmla="*/ 1177834 w 3392478"/>
              <a:gd name="connsiteY0" fmla="*/ -1 h 2788114"/>
              <a:gd name="connsiteX1" fmla="*/ 3247562 w 3392478"/>
              <a:gd name="connsiteY1" fmla="*/ 1692021 h 2788114"/>
              <a:gd name="connsiteX2" fmla="*/ 3392478 w 3392478"/>
              <a:gd name="connsiteY2" fmla="*/ 2788114 h 2788114"/>
              <a:gd name="connsiteX3" fmla="*/ 0 w 3392478"/>
              <a:gd name="connsiteY3" fmla="*/ 47836 h 2788114"/>
              <a:gd name="connsiteX4" fmla="*/ 1177834 w 3392478"/>
              <a:gd name="connsiteY4" fmla="*/ -1 h 2788114"/>
              <a:gd name="connsiteX0" fmla="*/ 1430955 w 3392478"/>
              <a:gd name="connsiteY0" fmla="*/ 158299 h 2740277"/>
              <a:gd name="connsiteX1" fmla="*/ 3247562 w 3392478"/>
              <a:gd name="connsiteY1" fmla="*/ 1644184 h 2740277"/>
              <a:gd name="connsiteX2" fmla="*/ 3392478 w 3392478"/>
              <a:gd name="connsiteY2" fmla="*/ 2740277 h 2740277"/>
              <a:gd name="connsiteX3" fmla="*/ 0 w 3392478"/>
              <a:gd name="connsiteY3" fmla="*/ -1 h 2740277"/>
              <a:gd name="connsiteX4" fmla="*/ 1430955 w 3392478"/>
              <a:gd name="connsiteY4" fmla="*/ 158299 h 2740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92478" h="2740277">
                <a:moveTo>
                  <a:pt x="1430955" y="158299"/>
                </a:moveTo>
                <a:lnTo>
                  <a:pt x="3247562" y="1644184"/>
                </a:lnTo>
                <a:lnTo>
                  <a:pt x="3392478" y="2740277"/>
                </a:lnTo>
                <a:lnTo>
                  <a:pt x="0" y="-1"/>
                </a:lnTo>
                <a:lnTo>
                  <a:pt x="1430955" y="158299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err="1">
              <a:solidFill>
                <a:schemeClr val="tx1"/>
              </a:solidFill>
            </a:endParaRPr>
          </a:p>
        </p:txBody>
      </p:sp>
      <p:sp>
        <p:nvSpPr>
          <p:cNvPr id="53" name="Fünfeck 27">
            <a:extLst>
              <a:ext uri="{FF2B5EF4-FFF2-40B4-BE49-F238E27FC236}">
                <a16:creationId xmlns:a16="http://schemas.microsoft.com/office/drawing/2014/main" id="{6AA80A22-8989-4143-AF37-7FC99F570342}"/>
              </a:ext>
            </a:extLst>
          </p:cNvPr>
          <p:cNvSpPr/>
          <p:nvPr/>
        </p:nvSpPr>
        <p:spPr>
          <a:xfrm>
            <a:off x="1413500" y="3290882"/>
            <a:ext cx="2852738" cy="246145"/>
          </a:xfrm>
          <a:custGeom>
            <a:avLst/>
            <a:gdLst>
              <a:gd name="connsiteX0" fmla="*/ 1 w 1242791"/>
              <a:gd name="connsiteY0" fmla="*/ 82880 h 216982"/>
              <a:gd name="connsiteX1" fmla="*/ 621396 w 1242791"/>
              <a:gd name="connsiteY1" fmla="*/ 0 h 216982"/>
              <a:gd name="connsiteX2" fmla="*/ 1242790 w 1242791"/>
              <a:gd name="connsiteY2" fmla="*/ 82880 h 216982"/>
              <a:gd name="connsiteX3" fmla="*/ 1005438 w 1242791"/>
              <a:gd name="connsiteY3" fmla="*/ 216981 h 216982"/>
              <a:gd name="connsiteX4" fmla="*/ 237353 w 1242791"/>
              <a:gd name="connsiteY4" fmla="*/ 216981 h 216982"/>
              <a:gd name="connsiteX5" fmla="*/ 1 w 1242791"/>
              <a:gd name="connsiteY5" fmla="*/ 82880 h 216982"/>
              <a:gd name="connsiteX0" fmla="*/ 0 w 1547589"/>
              <a:gd name="connsiteY0" fmla="*/ 73355 h 216981"/>
              <a:gd name="connsiteX1" fmla="*/ 926195 w 1547589"/>
              <a:gd name="connsiteY1" fmla="*/ 0 h 216981"/>
              <a:gd name="connsiteX2" fmla="*/ 1547589 w 1547589"/>
              <a:gd name="connsiteY2" fmla="*/ 82880 h 216981"/>
              <a:gd name="connsiteX3" fmla="*/ 1310237 w 1547589"/>
              <a:gd name="connsiteY3" fmla="*/ 216981 h 216981"/>
              <a:gd name="connsiteX4" fmla="*/ 542152 w 1547589"/>
              <a:gd name="connsiteY4" fmla="*/ 216981 h 216981"/>
              <a:gd name="connsiteX5" fmla="*/ 0 w 1547589"/>
              <a:gd name="connsiteY5" fmla="*/ 73355 h 216981"/>
              <a:gd name="connsiteX0" fmla="*/ 0 w 1547589"/>
              <a:gd name="connsiteY0" fmla="*/ 73355 h 216981"/>
              <a:gd name="connsiteX1" fmla="*/ 926195 w 1547589"/>
              <a:gd name="connsiteY1" fmla="*/ 0 h 216981"/>
              <a:gd name="connsiteX2" fmla="*/ 1547589 w 1547589"/>
              <a:gd name="connsiteY2" fmla="*/ 82880 h 216981"/>
              <a:gd name="connsiteX3" fmla="*/ 1310237 w 1547589"/>
              <a:gd name="connsiteY3" fmla="*/ 216981 h 216981"/>
              <a:gd name="connsiteX4" fmla="*/ 158771 w 1547589"/>
              <a:gd name="connsiteY4" fmla="*/ 205075 h 216981"/>
              <a:gd name="connsiteX5" fmla="*/ 0 w 1547589"/>
              <a:gd name="connsiteY5" fmla="*/ 73355 h 216981"/>
              <a:gd name="connsiteX0" fmla="*/ 0 w 1547589"/>
              <a:gd name="connsiteY0" fmla="*/ 101930 h 245556"/>
              <a:gd name="connsiteX1" fmla="*/ 147526 w 1547589"/>
              <a:gd name="connsiteY1" fmla="*/ 0 h 245556"/>
              <a:gd name="connsiteX2" fmla="*/ 1547589 w 1547589"/>
              <a:gd name="connsiteY2" fmla="*/ 111455 h 245556"/>
              <a:gd name="connsiteX3" fmla="*/ 1310237 w 1547589"/>
              <a:gd name="connsiteY3" fmla="*/ 245556 h 245556"/>
              <a:gd name="connsiteX4" fmla="*/ 158771 w 1547589"/>
              <a:gd name="connsiteY4" fmla="*/ 233650 h 245556"/>
              <a:gd name="connsiteX5" fmla="*/ 0 w 1547589"/>
              <a:gd name="connsiteY5" fmla="*/ 101930 h 245556"/>
              <a:gd name="connsiteX0" fmla="*/ 0 w 2559620"/>
              <a:gd name="connsiteY0" fmla="*/ 101930 h 245556"/>
              <a:gd name="connsiteX1" fmla="*/ 147526 w 2559620"/>
              <a:gd name="connsiteY1" fmla="*/ 0 h 245556"/>
              <a:gd name="connsiteX2" fmla="*/ 2559620 w 2559620"/>
              <a:gd name="connsiteY2" fmla="*/ 1917 h 245556"/>
              <a:gd name="connsiteX3" fmla="*/ 1310237 w 2559620"/>
              <a:gd name="connsiteY3" fmla="*/ 245556 h 245556"/>
              <a:gd name="connsiteX4" fmla="*/ 158771 w 2559620"/>
              <a:gd name="connsiteY4" fmla="*/ 233650 h 245556"/>
              <a:gd name="connsiteX5" fmla="*/ 0 w 2559620"/>
              <a:gd name="connsiteY5" fmla="*/ 101930 h 245556"/>
              <a:gd name="connsiteX0" fmla="*/ 0 w 2850906"/>
              <a:gd name="connsiteY0" fmla="*/ 101930 h 236031"/>
              <a:gd name="connsiteX1" fmla="*/ 147526 w 2850906"/>
              <a:gd name="connsiteY1" fmla="*/ 0 h 236031"/>
              <a:gd name="connsiteX2" fmla="*/ 2559620 w 2850906"/>
              <a:gd name="connsiteY2" fmla="*/ 1917 h 236031"/>
              <a:gd name="connsiteX3" fmla="*/ 2850906 w 2850906"/>
              <a:gd name="connsiteY3" fmla="*/ 236031 h 236031"/>
              <a:gd name="connsiteX4" fmla="*/ 158771 w 2850906"/>
              <a:gd name="connsiteY4" fmla="*/ 233650 h 236031"/>
              <a:gd name="connsiteX5" fmla="*/ 0 w 2850906"/>
              <a:gd name="connsiteY5" fmla="*/ 101930 h 236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50906" h="236031">
                <a:moveTo>
                  <a:pt x="0" y="101930"/>
                </a:moveTo>
                <a:lnTo>
                  <a:pt x="147526" y="0"/>
                </a:lnTo>
                <a:lnTo>
                  <a:pt x="2559620" y="1917"/>
                </a:lnTo>
                <a:lnTo>
                  <a:pt x="2850906" y="236031"/>
                </a:lnTo>
                <a:lnTo>
                  <a:pt x="158771" y="233650"/>
                </a:lnTo>
                <a:lnTo>
                  <a:pt x="0" y="101930"/>
                </a:lnTo>
                <a:close/>
              </a:path>
            </a:pathLst>
          </a:custGeom>
          <a:solidFill>
            <a:srgbClr val="ABAAAE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err="1">
              <a:solidFill>
                <a:schemeClr val="tx1"/>
              </a:solidFill>
            </a:endParaRPr>
          </a:p>
        </p:txBody>
      </p:sp>
      <p:sp>
        <p:nvSpPr>
          <p:cNvPr id="54" name="Rechteck 12">
            <a:extLst>
              <a:ext uri="{FF2B5EF4-FFF2-40B4-BE49-F238E27FC236}">
                <a16:creationId xmlns:a16="http://schemas.microsoft.com/office/drawing/2014/main" id="{93256020-4395-45E2-81FA-7F87E1E2DEDF}"/>
              </a:ext>
            </a:extLst>
          </p:cNvPr>
          <p:cNvSpPr/>
          <p:nvPr/>
        </p:nvSpPr>
        <p:spPr>
          <a:xfrm rot="18895009">
            <a:off x="1873736" y="5255098"/>
            <a:ext cx="1019770" cy="1004596"/>
          </a:xfrm>
          <a:custGeom>
            <a:avLst/>
            <a:gdLst>
              <a:gd name="connsiteX0" fmla="*/ 0 w 3503596"/>
              <a:gd name="connsiteY0" fmla="*/ 0 h 2850080"/>
              <a:gd name="connsiteX1" fmla="*/ 3503596 w 3503596"/>
              <a:gd name="connsiteY1" fmla="*/ 0 h 2850080"/>
              <a:gd name="connsiteX2" fmla="*/ 3503596 w 3503596"/>
              <a:gd name="connsiteY2" fmla="*/ 2850080 h 2850080"/>
              <a:gd name="connsiteX3" fmla="*/ 0 w 3503596"/>
              <a:gd name="connsiteY3" fmla="*/ 2850080 h 2850080"/>
              <a:gd name="connsiteX4" fmla="*/ 0 w 3503596"/>
              <a:gd name="connsiteY4" fmla="*/ 0 h 2850080"/>
              <a:gd name="connsiteX0" fmla="*/ 0 w 3532471"/>
              <a:gd name="connsiteY0" fmla="*/ 0 h 2850080"/>
              <a:gd name="connsiteX1" fmla="*/ 3532471 w 3532471"/>
              <a:gd name="connsiteY1" fmla="*/ 1953928 h 2850080"/>
              <a:gd name="connsiteX2" fmla="*/ 3503596 w 3532471"/>
              <a:gd name="connsiteY2" fmla="*/ 2850080 h 2850080"/>
              <a:gd name="connsiteX3" fmla="*/ 0 w 3532471"/>
              <a:gd name="connsiteY3" fmla="*/ 2850080 h 2850080"/>
              <a:gd name="connsiteX4" fmla="*/ 0 w 3532471"/>
              <a:gd name="connsiteY4" fmla="*/ 0 h 2850080"/>
              <a:gd name="connsiteX0" fmla="*/ 1155031 w 3532471"/>
              <a:gd name="connsiteY0" fmla="*/ 0 h 2840455"/>
              <a:gd name="connsiteX1" fmla="*/ 3532471 w 3532471"/>
              <a:gd name="connsiteY1" fmla="*/ 1944303 h 2840455"/>
              <a:gd name="connsiteX2" fmla="*/ 3503596 w 3532471"/>
              <a:gd name="connsiteY2" fmla="*/ 2840455 h 2840455"/>
              <a:gd name="connsiteX3" fmla="*/ 0 w 3532471"/>
              <a:gd name="connsiteY3" fmla="*/ 2840455 h 2840455"/>
              <a:gd name="connsiteX4" fmla="*/ 1155031 w 3532471"/>
              <a:gd name="connsiteY4" fmla="*/ 0 h 2840455"/>
              <a:gd name="connsiteX0" fmla="*/ 1164656 w 3542096"/>
              <a:gd name="connsiteY0" fmla="*/ 8623 h 2849078"/>
              <a:gd name="connsiteX1" fmla="*/ 3542096 w 3542096"/>
              <a:gd name="connsiteY1" fmla="*/ 195292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64656 w 3542096"/>
              <a:gd name="connsiteY4" fmla="*/ 8623 h 2849078"/>
              <a:gd name="connsiteX0" fmla="*/ 1164656 w 3542096"/>
              <a:gd name="connsiteY0" fmla="*/ 8623 h 2849078"/>
              <a:gd name="connsiteX1" fmla="*/ 3542096 w 3542096"/>
              <a:gd name="connsiteY1" fmla="*/ 193387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64656 w 3542096"/>
              <a:gd name="connsiteY4" fmla="*/ 8623 h 2849078"/>
              <a:gd name="connsiteX0" fmla="*/ 1177356 w 3542096"/>
              <a:gd name="connsiteY0" fmla="*/ 2273 h 2849078"/>
              <a:gd name="connsiteX1" fmla="*/ 3542096 w 3542096"/>
              <a:gd name="connsiteY1" fmla="*/ 1933876 h 2849078"/>
              <a:gd name="connsiteX2" fmla="*/ 3513221 w 3542096"/>
              <a:gd name="connsiteY2" fmla="*/ 2849078 h 2849078"/>
              <a:gd name="connsiteX3" fmla="*/ 0 w 3542096"/>
              <a:gd name="connsiteY3" fmla="*/ 0 h 2849078"/>
              <a:gd name="connsiteX4" fmla="*/ 1177356 w 3542096"/>
              <a:gd name="connsiteY4" fmla="*/ 2273 h 2849078"/>
              <a:gd name="connsiteX0" fmla="*/ 1202756 w 3567496"/>
              <a:gd name="connsiteY0" fmla="*/ 2273 h 2849078"/>
              <a:gd name="connsiteX1" fmla="*/ 3567496 w 3567496"/>
              <a:gd name="connsiteY1" fmla="*/ 1933876 h 2849078"/>
              <a:gd name="connsiteX2" fmla="*/ 3538621 w 3567496"/>
              <a:gd name="connsiteY2" fmla="*/ 2849078 h 2849078"/>
              <a:gd name="connsiteX3" fmla="*/ 0 w 3567496"/>
              <a:gd name="connsiteY3" fmla="*/ 0 h 2849078"/>
              <a:gd name="connsiteX4" fmla="*/ 1202756 w 3567496"/>
              <a:gd name="connsiteY4" fmla="*/ 2273 h 2849078"/>
              <a:gd name="connsiteX0" fmla="*/ 1202756 w 3579896"/>
              <a:gd name="connsiteY0" fmla="*/ 2273 h 2912578"/>
              <a:gd name="connsiteX1" fmla="*/ 3567496 w 3579896"/>
              <a:gd name="connsiteY1" fmla="*/ 1933876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202756 w 3579896"/>
              <a:gd name="connsiteY4" fmla="*/ 2273 h 2912578"/>
              <a:gd name="connsiteX0" fmla="*/ 1232978 w 3579896"/>
              <a:gd name="connsiteY0" fmla="*/ 46380 h 2912578"/>
              <a:gd name="connsiteX1" fmla="*/ 3567496 w 3579896"/>
              <a:gd name="connsiteY1" fmla="*/ 1933876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232978 w 3579896"/>
              <a:gd name="connsiteY4" fmla="*/ 46380 h 2912578"/>
              <a:gd name="connsiteX0" fmla="*/ 1383249 w 3579896"/>
              <a:gd name="connsiteY0" fmla="*/ 129300 h 2912578"/>
              <a:gd name="connsiteX1" fmla="*/ 3567496 w 3579896"/>
              <a:gd name="connsiteY1" fmla="*/ 1933876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383249 w 3579896"/>
              <a:gd name="connsiteY4" fmla="*/ 129300 h 2912578"/>
              <a:gd name="connsiteX0" fmla="*/ 1383249 w 3579896"/>
              <a:gd name="connsiteY0" fmla="*/ 129300 h 2912578"/>
              <a:gd name="connsiteX1" fmla="*/ 3423001 w 3579896"/>
              <a:gd name="connsiteY1" fmla="*/ 1816535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383249 w 3579896"/>
              <a:gd name="connsiteY4" fmla="*/ 129300 h 2912578"/>
              <a:gd name="connsiteX0" fmla="*/ 1383249 w 3579896"/>
              <a:gd name="connsiteY0" fmla="*/ 129300 h 2912578"/>
              <a:gd name="connsiteX1" fmla="*/ 3434980 w 3579896"/>
              <a:gd name="connsiteY1" fmla="*/ 1816485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383249 w 3579896"/>
              <a:gd name="connsiteY4" fmla="*/ 129300 h 2912578"/>
              <a:gd name="connsiteX0" fmla="*/ 1425636 w 3579896"/>
              <a:gd name="connsiteY0" fmla="*/ 202841 h 2912578"/>
              <a:gd name="connsiteX1" fmla="*/ 3434980 w 3579896"/>
              <a:gd name="connsiteY1" fmla="*/ 1816485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425636 w 3579896"/>
              <a:gd name="connsiteY4" fmla="*/ 202841 h 2912578"/>
              <a:gd name="connsiteX0" fmla="*/ 1383315 w 3579896"/>
              <a:gd name="connsiteY0" fmla="*/ 139132 h 2912578"/>
              <a:gd name="connsiteX1" fmla="*/ 3434980 w 3579896"/>
              <a:gd name="connsiteY1" fmla="*/ 1816485 h 2912578"/>
              <a:gd name="connsiteX2" fmla="*/ 3579896 w 3579896"/>
              <a:gd name="connsiteY2" fmla="*/ 2912578 h 2912578"/>
              <a:gd name="connsiteX3" fmla="*/ 0 w 3579896"/>
              <a:gd name="connsiteY3" fmla="*/ 0 h 2912578"/>
              <a:gd name="connsiteX4" fmla="*/ 1383315 w 3579896"/>
              <a:gd name="connsiteY4" fmla="*/ 139132 h 2912578"/>
              <a:gd name="connsiteX0" fmla="*/ 1191507 w 3388088"/>
              <a:gd name="connsiteY0" fmla="*/ 120275 h 2893721"/>
              <a:gd name="connsiteX1" fmla="*/ 3243172 w 3388088"/>
              <a:gd name="connsiteY1" fmla="*/ 1797628 h 2893721"/>
              <a:gd name="connsiteX2" fmla="*/ 3388088 w 3388088"/>
              <a:gd name="connsiteY2" fmla="*/ 2893721 h 2893721"/>
              <a:gd name="connsiteX3" fmla="*/ 1 w 3388088"/>
              <a:gd name="connsiteY3" fmla="*/ 1 h 2893721"/>
              <a:gd name="connsiteX4" fmla="*/ 1191507 w 3388088"/>
              <a:gd name="connsiteY4" fmla="*/ 120275 h 2893721"/>
              <a:gd name="connsiteX0" fmla="*/ 1401381 w 3597962"/>
              <a:gd name="connsiteY0" fmla="*/ 153801 h 2927247"/>
              <a:gd name="connsiteX1" fmla="*/ 3453046 w 3597962"/>
              <a:gd name="connsiteY1" fmla="*/ 1831154 h 2927247"/>
              <a:gd name="connsiteX2" fmla="*/ 3597962 w 3597962"/>
              <a:gd name="connsiteY2" fmla="*/ 2927247 h 2927247"/>
              <a:gd name="connsiteX3" fmla="*/ 2 w 3597962"/>
              <a:gd name="connsiteY3" fmla="*/ -1 h 2927247"/>
              <a:gd name="connsiteX4" fmla="*/ 1401381 w 3597962"/>
              <a:gd name="connsiteY4" fmla="*/ 153801 h 2927247"/>
              <a:gd name="connsiteX0" fmla="*/ 1413299 w 3609880"/>
              <a:gd name="connsiteY0" fmla="*/ 143921 h 2917367"/>
              <a:gd name="connsiteX1" fmla="*/ 3464964 w 3609880"/>
              <a:gd name="connsiteY1" fmla="*/ 1821274 h 2917367"/>
              <a:gd name="connsiteX2" fmla="*/ 3609880 w 3609880"/>
              <a:gd name="connsiteY2" fmla="*/ 2917367 h 2917367"/>
              <a:gd name="connsiteX3" fmla="*/ 0 w 3609880"/>
              <a:gd name="connsiteY3" fmla="*/ -1 h 2917367"/>
              <a:gd name="connsiteX4" fmla="*/ 1413299 w 3609880"/>
              <a:gd name="connsiteY4" fmla="*/ 143921 h 2917367"/>
              <a:gd name="connsiteX0" fmla="*/ 1395236 w 3609880"/>
              <a:gd name="connsiteY0" fmla="*/ 129252 h 2917367"/>
              <a:gd name="connsiteX1" fmla="*/ 3464964 w 3609880"/>
              <a:gd name="connsiteY1" fmla="*/ 1821274 h 2917367"/>
              <a:gd name="connsiteX2" fmla="*/ 3609880 w 3609880"/>
              <a:gd name="connsiteY2" fmla="*/ 2917367 h 2917367"/>
              <a:gd name="connsiteX3" fmla="*/ 0 w 3609880"/>
              <a:gd name="connsiteY3" fmla="*/ -1 h 2917367"/>
              <a:gd name="connsiteX4" fmla="*/ 1395236 w 3609880"/>
              <a:gd name="connsiteY4" fmla="*/ 129252 h 2917367"/>
              <a:gd name="connsiteX0" fmla="*/ 1413294 w 3627938"/>
              <a:gd name="connsiteY0" fmla="*/ 143918 h 2932033"/>
              <a:gd name="connsiteX1" fmla="*/ 3483022 w 3627938"/>
              <a:gd name="connsiteY1" fmla="*/ 1835940 h 2932033"/>
              <a:gd name="connsiteX2" fmla="*/ 3627938 w 3627938"/>
              <a:gd name="connsiteY2" fmla="*/ 2932033 h 2932033"/>
              <a:gd name="connsiteX3" fmla="*/ 0 w 3627938"/>
              <a:gd name="connsiteY3" fmla="*/ -1 h 2932033"/>
              <a:gd name="connsiteX4" fmla="*/ 1413294 w 3627938"/>
              <a:gd name="connsiteY4" fmla="*/ 143918 h 2932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27938" h="2932033">
                <a:moveTo>
                  <a:pt x="1413294" y="143918"/>
                </a:moveTo>
                <a:lnTo>
                  <a:pt x="3483022" y="1835940"/>
                </a:lnTo>
                <a:lnTo>
                  <a:pt x="3627938" y="2932033"/>
                </a:lnTo>
                <a:lnTo>
                  <a:pt x="0" y="-1"/>
                </a:lnTo>
                <a:lnTo>
                  <a:pt x="1413294" y="14391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err="1">
              <a:solidFill>
                <a:schemeClr val="tx1"/>
              </a:solidFill>
            </a:endParaRPr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2FD15537-38D7-41C5-B0DC-988AD7D2D3DF}"/>
              </a:ext>
            </a:extLst>
          </p:cNvPr>
          <p:cNvSpPr txBox="1"/>
          <p:nvPr/>
        </p:nvSpPr>
        <p:spPr>
          <a:xfrm>
            <a:off x="1034698" y="3275486"/>
            <a:ext cx="3352926" cy="5706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>
              <a:defRPr b="1">
                <a:solidFill>
                  <a:srgbClr val="336699"/>
                </a:solidFill>
              </a:defRPr>
            </a:lvl1pPr>
          </a:lstStyle>
          <a:p>
            <a:pPr algn="ctr" defTabSz="625475">
              <a:tabLst>
                <a:tab pos="808038" algn="l"/>
              </a:tabLst>
            </a:pPr>
            <a: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srgbClr val="6A000E"/>
                </a:solidFill>
                <a:effectLst/>
                <a:uLnTx/>
                <a:uFillTx/>
                <a:latin typeface="Porsche Next TT"/>
                <a:ea typeface="+mn-ea"/>
              </a:rPr>
              <a:t>Total 319k</a:t>
            </a:r>
            <a:endParaRPr kumimoji="0" lang="de-DE" sz="2000" b="1" i="0" u="none" strike="noStrike" kern="1200" cap="none" spc="0" normalizeH="0" baseline="0" noProof="0">
              <a:ln>
                <a:noFill/>
              </a:ln>
              <a:solidFill>
                <a:srgbClr val="6A000E"/>
              </a:solidFill>
              <a:effectLst/>
              <a:uLnTx/>
              <a:uFillTx/>
              <a:latin typeface="Porsche Next TT"/>
              <a:ea typeface="+mn-ea"/>
            </a:endParaRPr>
          </a:p>
          <a:p>
            <a:pPr algn="ctr" defTabSz="625475">
              <a:tabLst>
                <a:tab pos="808038" algn="l"/>
              </a:tabLst>
            </a:pPr>
            <a:endParaRPr lang="de-DE">
              <a:solidFill>
                <a:srgbClr val="8E0000"/>
              </a:solidFill>
            </a:endParaRP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FF34EFD1-3631-4F7E-B4A8-A82153C3A0C9}"/>
              </a:ext>
            </a:extLst>
          </p:cNvPr>
          <p:cNvSpPr txBox="1"/>
          <p:nvPr/>
        </p:nvSpPr>
        <p:spPr>
          <a:xfrm>
            <a:off x="2108975" y="3717539"/>
            <a:ext cx="222343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b="1">
                <a:solidFill>
                  <a:schemeClr val="accent2">
                    <a:lumMod val="50000"/>
                  </a:schemeClr>
                </a:solidFill>
              </a:rPr>
              <a:t>Dominic </a:t>
            </a:r>
            <a:r>
              <a:rPr lang="de-DE" b="1" err="1">
                <a:solidFill>
                  <a:schemeClr val="accent2">
                    <a:lumMod val="50000"/>
                  </a:schemeClr>
                </a:solidFill>
              </a:rPr>
              <a:t>Comtois</a:t>
            </a:r>
            <a:endParaRPr lang="de-DE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53BB5EAE-3736-4C82-9450-989643CB0909}"/>
              </a:ext>
            </a:extLst>
          </p:cNvPr>
          <p:cNvSpPr/>
          <p:nvPr/>
        </p:nvSpPr>
        <p:spPr>
          <a:xfrm>
            <a:off x="5231347" y="1016000"/>
            <a:ext cx="6976680" cy="4827002"/>
          </a:xfrm>
          <a:custGeom>
            <a:avLst/>
            <a:gdLst>
              <a:gd name="connsiteX0" fmla="*/ 0 w 6875027"/>
              <a:gd name="connsiteY0" fmla="*/ 0 h 4832349"/>
              <a:gd name="connsiteX1" fmla="*/ 6875027 w 6875027"/>
              <a:gd name="connsiteY1" fmla="*/ 0 h 4832349"/>
              <a:gd name="connsiteX2" fmla="*/ 6875027 w 6875027"/>
              <a:gd name="connsiteY2" fmla="*/ 4832349 h 4832349"/>
              <a:gd name="connsiteX3" fmla="*/ 0 w 6875027"/>
              <a:gd name="connsiteY3" fmla="*/ 4832349 h 4832349"/>
              <a:gd name="connsiteX4" fmla="*/ 0 w 6875027"/>
              <a:gd name="connsiteY4" fmla="*/ 0 h 4832349"/>
              <a:gd name="connsiteX0" fmla="*/ 0 w 6875027"/>
              <a:gd name="connsiteY0" fmla="*/ 0 h 4832349"/>
              <a:gd name="connsiteX1" fmla="*/ 6875027 w 6875027"/>
              <a:gd name="connsiteY1" fmla="*/ 0 h 4832349"/>
              <a:gd name="connsiteX2" fmla="*/ 6875027 w 6875027"/>
              <a:gd name="connsiteY2" fmla="*/ 4832349 h 4832349"/>
              <a:gd name="connsiteX3" fmla="*/ 2245360 w 6875027"/>
              <a:gd name="connsiteY3" fmla="*/ 4822189 h 4832349"/>
              <a:gd name="connsiteX4" fmla="*/ 0 w 6875027"/>
              <a:gd name="connsiteY4" fmla="*/ 0 h 48323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75027" h="4832349">
                <a:moveTo>
                  <a:pt x="0" y="0"/>
                </a:moveTo>
                <a:lnTo>
                  <a:pt x="6875027" y="0"/>
                </a:lnTo>
                <a:lnTo>
                  <a:pt x="6875027" y="4832349"/>
                </a:lnTo>
                <a:lnTo>
                  <a:pt x="2245360" y="4822189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65000"/>
              <a:lumOff val="35000"/>
              <a:alpha val="5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err="1">
              <a:solidFill>
                <a:schemeClr val="tx1"/>
              </a:solidFill>
            </a:endParaRP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6CD7EA69-8CD6-4588-BC56-45F5B372BE9F}"/>
              </a:ext>
            </a:extLst>
          </p:cNvPr>
          <p:cNvCxnSpPr/>
          <p:nvPr/>
        </p:nvCxnSpPr>
        <p:spPr>
          <a:xfrm>
            <a:off x="10668000" y="2320290"/>
            <a:ext cx="201930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69C961D0-3EA7-4AB6-8304-29F8A04624FF}"/>
              </a:ext>
            </a:extLst>
          </p:cNvPr>
          <p:cNvCxnSpPr/>
          <p:nvPr/>
        </p:nvCxnSpPr>
        <p:spPr>
          <a:xfrm>
            <a:off x="7821168" y="3923231"/>
            <a:ext cx="676656" cy="795073"/>
          </a:xfrm>
          <a:prstGeom prst="straightConnector1">
            <a:avLst/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517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Bildplatzhalter 27" descr="Ein Bild, das Outdoorobjekt enthält.&#10;&#10;Automatisch generierte Beschreibung">
            <a:extLst>
              <a:ext uri="{FF2B5EF4-FFF2-40B4-BE49-F238E27FC236}">
                <a16:creationId xmlns:a16="http://schemas.microsoft.com/office/drawing/2014/main" id="{229A156B-F9BB-4D67-B748-E9C0789E3DCC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3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79" t="2189" r="5532" b="-2189"/>
          <a:stretch/>
        </p:blipFill>
        <p:spPr>
          <a:xfrm>
            <a:off x="7191375" y="1016000"/>
            <a:ext cx="5000625" cy="4832350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B8B332BF-8A7C-42D1-9DFC-7F9A9D4927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nzeigen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AF973961-5999-4EBB-BD8E-B1D0E822F02E}"/>
              </a:ext>
            </a:extLst>
          </p:cNvPr>
          <p:cNvGrpSpPr/>
          <p:nvPr/>
        </p:nvGrpSpPr>
        <p:grpSpPr>
          <a:xfrm>
            <a:off x="926306" y="2119067"/>
            <a:ext cx="7394734" cy="2454307"/>
            <a:chOff x="-26466" y="3310744"/>
            <a:chExt cx="7394734" cy="2454307"/>
          </a:xfrm>
        </p:grpSpPr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C24FFF81-D4EF-4A5D-A077-27635154E6F9}"/>
                </a:ext>
              </a:extLst>
            </p:cNvPr>
            <p:cNvGrpSpPr/>
            <p:nvPr userDrawn="1"/>
          </p:nvGrpSpPr>
          <p:grpSpPr>
            <a:xfrm>
              <a:off x="-26466" y="5108212"/>
              <a:ext cx="7394734" cy="656839"/>
              <a:chOff x="-22266" y="1515176"/>
              <a:chExt cx="7394734" cy="656839"/>
            </a:xfrm>
          </p:grpSpPr>
          <p:sp>
            <p:nvSpPr>
              <p:cNvPr id="23" name="Rechteck 22">
                <a:extLst>
                  <a:ext uri="{FF2B5EF4-FFF2-40B4-BE49-F238E27FC236}">
                    <a16:creationId xmlns:a16="http://schemas.microsoft.com/office/drawing/2014/main" id="{6917E103-CFD2-4994-B572-38989AB3BB8C}"/>
                  </a:ext>
                </a:extLst>
              </p:cNvPr>
              <p:cNvSpPr/>
              <p:nvPr/>
            </p:nvSpPr>
            <p:spPr>
              <a:xfrm>
                <a:off x="-22266" y="1515176"/>
                <a:ext cx="1241467" cy="504971"/>
              </a:xfrm>
              <a:prstGeom prst="rect">
                <a:avLst/>
              </a:prstGeom>
              <a:solidFill>
                <a:srgbClr val="5A0000"/>
              </a:solidFill>
              <a:ln>
                <a:solidFill>
                  <a:srgbClr val="5A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4" name="Parallelogramm 23">
                <a:extLst>
                  <a:ext uri="{FF2B5EF4-FFF2-40B4-BE49-F238E27FC236}">
                    <a16:creationId xmlns:a16="http://schemas.microsoft.com/office/drawing/2014/main" id="{D3DECD4A-D207-42DD-9517-8DB606845A44}"/>
                  </a:ext>
                </a:extLst>
              </p:cNvPr>
              <p:cNvSpPr/>
              <p:nvPr/>
            </p:nvSpPr>
            <p:spPr>
              <a:xfrm rot="5400000">
                <a:off x="1060139" y="1675652"/>
                <a:ext cx="655421" cy="337305"/>
              </a:xfrm>
              <a:prstGeom prst="parallelogram">
                <a:avLst>
                  <a:gd name="adj" fmla="val 45293"/>
                </a:avLst>
              </a:prstGeom>
              <a:solidFill>
                <a:srgbClr val="501414"/>
              </a:solidFill>
              <a:ln>
                <a:solidFill>
                  <a:srgbClr val="50141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5" name="Pfeil: nach rechts 24">
                <a:extLst>
                  <a:ext uri="{FF2B5EF4-FFF2-40B4-BE49-F238E27FC236}">
                    <a16:creationId xmlns:a16="http://schemas.microsoft.com/office/drawing/2014/main" id="{7AF2E905-D980-4ADC-ACCD-E9DF673A4EBF}"/>
                  </a:ext>
                </a:extLst>
              </p:cNvPr>
              <p:cNvSpPr/>
              <p:nvPr/>
            </p:nvSpPr>
            <p:spPr>
              <a:xfrm>
                <a:off x="1563453" y="1667044"/>
                <a:ext cx="5809015" cy="504971"/>
              </a:xfrm>
              <a:prstGeom prst="rightArrow">
                <a:avLst>
                  <a:gd name="adj1" fmla="val 100000"/>
                  <a:gd name="adj2" fmla="val 67490"/>
                </a:avLst>
              </a:prstGeom>
              <a:solidFill>
                <a:srgbClr val="5A0000"/>
              </a:solidFill>
              <a:ln>
                <a:solidFill>
                  <a:srgbClr val="5A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b="1" i="0">
                    <a:solidFill>
                      <a:schemeClr val="bg1"/>
                    </a:solidFill>
                    <a:effectLst/>
                    <a:latin typeface="Open Sans"/>
                  </a:rPr>
                  <a:t>Viewer-Bereich von </a:t>
                </a:r>
                <a:r>
                  <a:rPr lang="de-DE" b="1" i="0" err="1">
                    <a:solidFill>
                      <a:schemeClr val="bg1"/>
                    </a:solidFill>
                    <a:effectLst/>
                    <a:latin typeface="Open Sans"/>
                  </a:rPr>
                  <a:t>RStudio</a:t>
                </a:r>
                <a:endParaRPr lang="de-DE" b="1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CF0BB0D8-9FC9-4040-A3E0-ACBC0F3676BB}"/>
                </a:ext>
              </a:extLst>
            </p:cNvPr>
            <p:cNvGrpSpPr/>
            <p:nvPr userDrawn="1"/>
          </p:nvGrpSpPr>
          <p:grpSpPr>
            <a:xfrm>
              <a:off x="-26466" y="3310744"/>
              <a:ext cx="6714014" cy="656839"/>
              <a:chOff x="-22266" y="1515176"/>
              <a:chExt cx="6714014" cy="656839"/>
            </a:xfrm>
          </p:grpSpPr>
          <p:sp>
            <p:nvSpPr>
              <p:cNvPr id="18" name="Parallelogramm 17">
                <a:extLst>
                  <a:ext uri="{FF2B5EF4-FFF2-40B4-BE49-F238E27FC236}">
                    <a16:creationId xmlns:a16="http://schemas.microsoft.com/office/drawing/2014/main" id="{0CD6A35A-A919-4A46-BD95-6CBBF391AF64}"/>
                  </a:ext>
                </a:extLst>
              </p:cNvPr>
              <p:cNvSpPr/>
              <p:nvPr/>
            </p:nvSpPr>
            <p:spPr>
              <a:xfrm rot="5400000">
                <a:off x="1059712" y="1675224"/>
                <a:ext cx="656276" cy="337305"/>
              </a:xfrm>
              <a:prstGeom prst="parallelogram">
                <a:avLst>
                  <a:gd name="adj" fmla="val 45293"/>
                </a:avLst>
              </a:prstGeom>
              <a:solidFill>
                <a:srgbClr val="8E0000"/>
              </a:solidFill>
              <a:ln>
                <a:solidFill>
                  <a:srgbClr val="8E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7" name="Rechteck 16">
                <a:extLst>
                  <a:ext uri="{FF2B5EF4-FFF2-40B4-BE49-F238E27FC236}">
                    <a16:creationId xmlns:a16="http://schemas.microsoft.com/office/drawing/2014/main" id="{8CA70E3B-CC6D-43B4-9516-9C884430CF15}"/>
                  </a:ext>
                </a:extLst>
              </p:cNvPr>
              <p:cNvSpPr/>
              <p:nvPr/>
            </p:nvSpPr>
            <p:spPr>
              <a:xfrm>
                <a:off x="-22266" y="1515176"/>
                <a:ext cx="1241467" cy="504971"/>
              </a:xfrm>
              <a:prstGeom prst="rect">
                <a:avLst/>
              </a:prstGeom>
              <a:solidFill>
                <a:srgbClr val="CF1313"/>
              </a:solidFill>
              <a:ln>
                <a:solidFill>
                  <a:srgbClr val="CF131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9" name="Pfeil: nach rechts 18">
                <a:extLst>
                  <a:ext uri="{FF2B5EF4-FFF2-40B4-BE49-F238E27FC236}">
                    <a16:creationId xmlns:a16="http://schemas.microsoft.com/office/drawing/2014/main" id="{CB9815F5-D8D3-4B96-AF14-0CD421010ED3}"/>
                  </a:ext>
                </a:extLst>
              </p:cNvPr>
              <p:cNvSpPr/>
              <p:nvPr/>
            </p:nvSpPr>
            <p:spPr>
              <a:xfrm>
                <a:off x="1563453" y="1667044"/>
                <a:ext cx="5128295" cy="504971"/>
              </a:xfrm>
              <a:prstGeom prst="rightArrow">
                <a:avLst>
                  <a:gd name="adj1" fmla="val 100000"/>
                  <a:gd name="adj2" fmla="val 67490"/>
                </a:avLst>
              </a:prstGeom>
              <a:solidFill>
                <a:srgbClr val="CF1313"/>
              </a:solidFill>
              <a:ln>
                <a:solidFill>
                  <a:srgbClr val="CF131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b="1" i="1">
                    <a:solidFill>
                      <a:schemeClr val="bg1"/>
                    </a:solidFill>
                    <a:effectLst/>
                  </a:rPr>
                  <a:t>R-</a:t>
                </a:r>
                <a:r>
                  <a:rPr lang="de-DE" b="1" i="0">
                    <a:solidFill>
                      <a:schemeClr val="bg1"/>
                    </a:solidFill>
                    <a:effectLst/>
                  </a:rPr>
                  <a:t> Konsole als einfacher Text </a:t>
                </a:r>
                <a:endParaRPr lang="de-DE" b="1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FAC06BE5-A4E2-42F1-B07D-B0712ED898CE}"/>
                </a:ext>
              </a:extLst>
            </p:cNvPr>
            <p:cNvGrpSpPr/>
            <p:nvPr userDrawn="1"/>
          </p:nvGrpSpPr>
          <p:grpSpPr>
            <a:xfrm>
              <a:off x="-26466" y="4206660"/>
              <a:ext cx="7059454" cy="657226"/>
              <a:chOff x="-22266" y="1514789"/>
              <a:chExt cx="7059454" cy="657226"/>
            </a:xfrm>
          </p:grpSpPr>
          <p:sp>
            <p:nvSpPr>
              <p:cNvPr id="14" name="Rechteck 13">
                <a:extLst>
                  <a:ext uri="{FF2B5EF4-FFF2-40B4-BE49-F238E27FC236}">
                    <a16:creationId xmlns:a16="http://schemas.microsoft.com/office/drawing/2014/main" id="{72DC9C91-8A24-48DD-A2A9-ACA53EC68D61}"/>
                  </a:ext>
                </a:extLst>
              </p:cNvPr>
              <p:cNvSpPr/>
              <p:nvPr/>
            </p:nvSpPr>
            <p:spPr>
              <a:xfrm>
                <a:off x="-22266" y="1515176"/>
                <a:ext cx="1241467" cy="504971"/>
              </a:xfrm>
              <a:prstGeom prst="rect">
                <a:avLst/>
              </a:prstGeom>
              <a:solidFill>
                <a:srgbClr val="8E0000"/>
              </a:solidFill>
              <a:ln>
                <a:solidFill>
                  <a:srgbClr val="8E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5" name="Parallelogramm 14">
                <a:extLst>
                  <a:ext uri="{FF2B5EF4-FFF2-40B4-BE49-F238E27FC236}">
                    <a16:creationId xmlns:a16="http://schemas.microsoft.com/office/drawing/2014/main" id="{272ADD0E-5326-4BDA-829C-C7E1B54F2936}"/>
                  </a:ext>
                </a:extLst>
              </p:cNvPr>
              <p:cNvSpPr/>
              <p:nvPr/>
            </p:nvSpPr>
            <p:spPr>
              <a:xfrm rot="5400000">
                <a:off x="1059238" y="1674749"/>
                <a:ext cx="657226" cy="337305"/>
              </a:xfrm>
              <a:prstGeom prst="parallelogram">
                <a:avLst>
                  <a:gd name="adj" fmla="val 45293"/>
                </a:avLst>
              </a:prstGeom>
              <a:solidFill>
                <a:srgbClr val="5A0000"/>
              </a:solidFill>
              <a:ln>
                <a:solidFill>
                  <a:srgbClr val="5A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6" name="Pfeil: nach rechts 15">
                <a:extLst>
                  <a:ext uri="{FF2B5EF4-FFF2-40B4-BE49-F238E27FC236}">
                    <a16:creationId xmlns:a16="http://schemas.microsoft.com/office/drawing/2014/main" id="{66A01205-4344-4609-B2E0-914B3AA4B115}"/>
                  </a:ext>
                </a:extLst>
              </p:cNvPr>
              <p:cNvSpPr/>
              <p:nvPr/>
            </p:nvSpPr>
            <p:spPr>
              <a:xfrm>
                <a:off x="1563454" y="1667044"/>
                <a:ext cx="5473734" cy="504971"/>
              </a:xfrm>
              <a:prstGeom prst="rightArrow">
                <a:avLst>
                  <a:gd name="adj1" fmla="val 100000"/>
                  <a:gd name="adj2" fmla="val 67490"/>
                </a:avLst>
              </a:prstGeom>
              <a:solidFill>
                <a:srgbClr val="8E0000"/>
              </a:solidFill>
              <a:ln>
                <a:solidFill>
                  <a:srgbClr val="8E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b="1"/>
                  <a:t>Als HTML im Webbrowser</a:t>
                </a:r>
              </a:p>
            </p:txBody>
          </p:sp>
        </p:grpSp>
      </p:grpSp>
      <p:sp>
        <p:nvSpPr>
          <p:cNvPr id="29" name="textBoxChapter">
            <a:extLst>
              <a:ext uri="{FF2B5EF4-FFF2-40B4-BE49-F238E27FC236}">
                <a16:creationId xmlns:a16="http://schemas.microsoft.com/office/drawing/2014/main" id="{1EB46462-7F29-43ED-80B4-68ACD05E46C0}"/>
              </a:ext>
            </a:extLst>
          </p:cNvPr>
          <p:cNvSpPr txBox="1"/>
          <p:nvPr/>
        </p:nvSpPr>
        <p:spPr>
          <a:xfrm>
            <a:off x="2609314" y="6454379"/>
            <a:ext cx="6973372" cy="37110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inleitung/ Anzeigen</a:t>
            </a:r>
            <a:endParaRPr kumimoji="0" lang="de-DE" sz="167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ewsGoth for Porsche Com" panose="020B0506020203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2556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 descr="Ein Bild, das Gras, draußen, Gebäude, Feld enthält.&#10;&#10;Automatisch generierte Beschreibung">
            <a:extLst>
              <a:ext uri="{FF2B5EF4-FFF2-40B4-BE49-F238E27FC236}">
                <a16:creationId xmlns:a16="http://schemas.microsoft.com/office/drawing/2014/main" id="{90A595C7-BAF6-4ECD-98EF-F4195EF7D0E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" b="13969"/>
          <a:stretch/>
        </p:blipFill>
        <p:spPr>
          <a:xfrm>
            <a:off x="0" y="0"/>
            <a:ext cx="12192000" cy="5874327"/>
          </a:xfrm>
          <a:prstGeom prst="rect">
            <a:avLst/>
          </a:prstGeom>
        </p:spPr>
      </p:pic>
      <p:sp>
        <p:nvSpPr>
          <p:cNvPr id="2" name="textBoxChapter">
            <a:extLst>
              <a:ext uri="{FF2B5EF4-FFF2-40B4-BE49-F238E27FC236}">
                <a16:creationId xmlns:a16="http://schemas.microsoft.com/office/drawing/2014/main" id="{E501B46F-755C-4AAD-AA42-B373861A0949}"/>
              </a:ext>
            </a:extLst>
          </p:cNvPr>
          <p:cNvSpPr txBox="1"/>
          <p:nvPr/>
        </p:nvSpPr>
        <p:spPr>
          <a:xfrm>
            <a:off x="2609314" y="6454379"/>
            <a:ext cx="6973372" cy="37110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7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ewsGoth for Porsche Com" panose="020B0506020203020204" pitchFamily="34" charset="0"/>
              <a:ea typeface="+mn-ea"/>
              <a:cs typeface="+mn-cs"/>
            </a:endParaRPr>
          </a:p>
        </p:txBody>
      </p:sp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48426F16-B3D8-4A0D-A615-9CAAA1A5B6E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 tIns="216000"/>
          <a:lstStyle/>
          <a:p>
            <a:r>
              <a:rPr lang="de-DE" sz="4000"/>
              <a:t>Funktionen</a:t>
            </a:r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6007F805-3C32-47FB-8197-6C7DA01B278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 tIns="252000"/>
          <a:lstStyle/>
          <a:p>
            <a:r>
              <a:rPr lang="de-DE" sz="4000"/>
              <a:t> Hands On</a:t>
            </a:r>
          </a:p>
        </p:txBody>
      </p:sp>
      <p:sp>
        <p:nvSpPr>
          <p:cNvPr id="38" name="Textplatzhalter 37">
            <a:extLst>
              <a:ext uri="{FF2B5EF4-FFF2-40B4-BE49-F238E27FC236}">
                <a16:creationId xmlns:a16="http://schemas.microsoft.com/office/drawing/2014/main" id="{276EA4C6-F775-4419-852D-388146E5F4E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solidFill>
            <a:schemeClr val="tx1"/>
          </a:solidFill>
        </p:spPr>
        <p:txBody>
          <a:bodyPr/>
          <a:lstStyle/>
          <a:p>
            <a:r>
              <a:rPr lang="de-DE"/>
              <a:t>2</a:t>
            </a:r>
          </a:p>
        </p:txBody>
      </p:sp>
      <p:sp>
        <p:nvSpPr>
          <p:cNvPr id="42" name="Textplatzhalter 41">
            <a:extLst>
              <a:ext uri="{FF2B5EF4-FFF2-40B4-BE49-F238E27FC236}">
                <a16:creationId xmlns:a16="http://schemas.microsoft.com/office/drawing/2014/main" id="{29127C53-8C96-4711-B9F7-C82C7770487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 tIns="252000"/>
          <a:lstStyle/>
          <a:p>
            <a:r>
              <a:rPr lang="de-DE" sz="4000"/>
              <a:t> Einleitung</a:t>
            </a:r>
            <a:endParaRPr lang="de-DE"/>
          </a:p>
        </p:txBody>
      </p:sp>
      <p:sp>
        <p:nvSpPr>
          <p:cNvPr id="40" name="Textplatzhalter 39">
            <a:extLst>
              <a:ext uri="{FF2B5EF4-FFF2-40B4-BE49-F238E27FC236}">
                <a16:creationId xmlns:a16="http://schemas.microsoft.com/office/drawing/2014/main" id="{5D554CD6-D34C-44A9-9BB9-E7EF31A934B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/>
              <a:t>3</a:t>
            </a:r>
          </a:p>
        </p:txBody>
      </p: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732E3EAF-F39E-4A40-B288-66C0158FBB2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b"/>
          <a:lstStyle/>
          <a:p>
            <a:pPr>
              <a:lnSpc>
                <a:spcPct val="150000"/>
              </a:lnSpc>
            </a:pPr>
            <a:r>
              <a:rPr lang="de-DE" sz="3200">
                <a:latin typeface="+mj-lt"/>
              </a:rPr>
              <a:t>1</a:t>
            </a:r>
          </a:p>
        </p:txBody>
      </p:sp>
      <p:sp>
        <p:nvSpPr>
          <p:cNvPr id="14" name="Rechteck 4">
            <a:extLst>
              <a:ext uri="{FF2B5EF4-FFF2-40B4-BE49-F238E27FC236}">
                <a16:creationId xmlns:a16="http://schemas.microsoft.com/office/drawing/2014/main" id="{45294CCF-9827-4BD9-9DA6-1B5675E45382}"/>
              </a:ext>
            </a:extLst>
          </p:cNvPr>
          <p:cNvSpPr/>
          <p:nvPr/>
        </p:nvSpPr>
        <p:spPr>
          <a:xfrm>
            <a:off x="-13971" y="87272"/>
            <a:ext cx="2052322" cy="379453"/>
          </a:xfrm>
          <a:custGeom>
            <a:avLst/>
            <a:gdLst>
              <a:gd name="connsiteX0" fmla="*/ 0 w 2827090"/>
              <a:gd name="connsiteY0" fmla="*/ 0 h 738231"/>
              <a:gd name="connsiteX1" fmla="*/ 2827090 w 2827090"/>
              <a:gd name="connsiteY1" fmla="*/ 0 h 738231"/>
              <a:gd name="connsiteX2" fmla="*/ 2827090 w 2827090"/>
              <a:gd name="connsiteY2" fmla="*/ 738231 h 738231"/>
              <a:gd name="connsiteX3" fmla="*/ 0 w 2827090"/>
              <a:gd name="connsiteY3" fmla="*/ 738231 h 738231"/>
              <a:gd name="connsiteX4" fmla="*/ 0 w 2827090"/>
              <a:gd name="connsiteY4" fmla="*/ 0 h 738231"/>
              <a:gd name="connsiteX0" fmla="*/ 0 w 2827090"/>
              <a:gd name="connsiteY0" fmla="*/ 0 h 738231"/>
              <a:gd name="connsiteX1" fmla="*/ 2827090 w 2827090"/>
              <a:gd name="connsiteY1" fmla="*/ 0 h 738231"/>
              <a:gd name="connsiteX2" fmla="*/ 2063692 w 2827090"/>
              <a:gd name="connsiteY2" fmla="*/ 729842 h 738231"/>
              <a:gd name="connsiteX3" fmla="*/ 0 w 2827090"/>
              <a:gd name="connsiteY3" fmla="*/ 738231 h 738231"/>
              <a:gd name="connsiteX4" fmla="*/ 0 w 2827090"/>
              <a:gd name="connsiteY4" fmla="*/ 0 h 738231"/>
              <a:gd name="connsiteX0" fmla="*/ 0 w 2615784"/>
              <a:gd name="connsiteY0" fmla="*/ 0 h 738231"/>
              <a:gd name="connsiteX1" fmla="*/ 2615784 w 2615784"/>
              <a:gd name="connsiteY1" fmla="*/ 0 h 738231"/>
              <a:gd name="connsiteX2" fmla="*/ 2063692 w 2615784"/>
              <a:gd name="connsiteY2" fmla="*/ 729842 h 738231"/>
              <a:gd name="connsiteX3" fmla="*/ 0 w 2615784"/>
              <a:gd name="connsiteY3" fmla="*/ 738231 h 738231"/>
              <a:gd name="connsiteX4" fmla="*/ 0 w 2615784"/>
              <a:gd name="connsiteY4" fmla="*/ 0 h 738231"/>
              <a:gd name="connsiteX0" fmla="*/ 0 w 2464096"/>
              <a:gd name="connsiteY0" fmla="*/ 0 h 738231"/>
              <a:gd name="connsiteX1" fmla="*/ 2464096 w 2464096"/>
              <a:gd name="connsiteY1" fmla="*/ 8389 h 738231"/>
              <a:gd name="connsiteX2" fmla="*/ 2063692 w 2464096"/>
              <a:gd name="connsiteY2" fmla="*/ 729842 h 738231"/>
              <a:gd name="connsiteX3" fmla="*/ 0 w 2464096"/>
              <a:gd name="connsiteY3" fmla="*/ 738231 h 738231"/>
              <a:gd name="connsiteX4" fmla="*/ 0 w 2464096"/>
              <a:gd name="connsiteY4" fmla="*/ 0 h 738231"/>
              <a:gd name="connsiteX0" fmla="*/ 0 w 2464096"/>
              <a:gd name="connsiteY0" fmla="*/ 0 h 738231"/>
              <a:gd name="connsiteX1" fmla="*/ 2464096 w 2464096"/>
              <a:gd name="connsiteY1" fmla="*/ 8389 h 738231"/>
              <a:gd name="connsiteX2" fmla="*/ 1777790 w 2464096"/>
              <a:gd name="connsiteY2" fmla="*/ 729842 h 738231"/>
              <a:gd name="connsiteX3" fmla="*/ 0 w 2464096"/>
              <a:gd name="connsiteY3" fmla="*/ 738231 h 738231"/>
              <a:gd name="connsiteX4" fmla="*/ 0 w 2464096"/>
              <a:gd name="connsiteY4" fmla="*/ 0 h 7382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64096" h="738231">
                <a:moveTo>
                  <a:pt x="0" y="0"/>
                </a:moveTo>
                <a:lnTo>
                  <a:pt x="2464096" y="8389"/>
                </a:lnTo>
                <a:lnTo>
                  <a:pt x="1777790" y="729842"/>
                </a:lnTo>
                <a:lnTo>
                  <a:pt x="0" y="738231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2800" b="1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634576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10" y="1904"/>
          <a:ext cx="1903" cy="19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0" y="1904"/>
                        <a:ext cx="1903" cy="190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Rechteck 61">
            <a:extLst>
              <a:ext uri="{FF2B5EF4-FFF2-40B4-BE49-F238E27FC236}">
                <a16:creationId xmlns:a16="http://schemas.microsoft.com/office/drawing/2014/main" id="{E58F0360-2476-4846-9446-450E7775088F}"/>
              </a:ext>
            </a:extLst>
          </p:cNvPr>
          <p:cNvSpPr/>
          <p:nvPr/>
        </p:nvSpPr>
        <p:spPr>
          <a:xfrm>
            <a:off x="6295955" y="1051528"/>
            <a:ext cx="2702692" cy="4523570"/>
          </a:xfrm>
          <a:prstGeom prst="rect">
            <a:avLst/>
          </a:prstGeom>
          <a:solidFill>
            <a:schemeClr val="accent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158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rsche Next TT"/>
              <a:ea typeface="+mn-ea"/>
              <a:cs typeface="+mn-cs"/>
            </a:endParaRPr>
          </a:p>
        </p:txBody>
      </p:sp>
      <p:sp>
        <p:nvSpPr>
          <p:cNvPr id="64" name="Rechteck 63">
            <a:hlinkClick r:id="rId6" action="ppaction://hlinksldjump"/>
            <a:extLst>
              <a:ext uri="{FF2B5EF4-FFF2-40B4-BE49-F238E27FC236}">
                <a16:creationId xmlns:a16="http://schemas.microsoft.com/office/drawing/2014/main" id="{53CEC822-5280-435D-98C3-C3545F668F65}"/>
              </a:ext>
            </a:extLst>
          </p:cNvPr>
          <p:cNvSpPr/>
          <p:nvPr/>
        </p:nvSpPr>
        <p:spPr>
          <a:xfrm>
            <a:off x="6531725" y="4484769"/>
            <a:ext cx="2231151" cy="804793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630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798" b="1" err="1">
                <a:solidFill>
                  <a:prstClr val="white"/>
                </a:solidFill>
                <a:latin typeface="Porsche Next TT"/>
              </a:rPr>
              <a:t>desc</a:t>
            </a:r>
            <a:r>
              <a:rPr lang="de-DE" sz="1798" b="1">
                <a:solidFill>
                  <a:prstClr val="white"/>
                </a:solidFill>
                <a:latin typeface="Porsche Next TT"/>
              </a:rPr>
              <a:t>()</a:t>
            </a:r>
            <a:endParaRPr kumimoji="0" lang="de-DE" sz="1798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rsche Next TT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80045CB-274C-4B78-A816-3D3B9FEAC6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F936BD3-D3AB-40F2-8631-0AFCC3C3295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3954" y="5630145"/>
            <a:ext cx="11765745" cy="129123"/>
          </a:xfrm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4" name="textBoxChapter">
            <a:extLst>
              <a:ext uri="{FF2B5EF4-FFF2-40B4-BE49-F238E27FC236}">
                <a16:creationId xmlns:a16="http://schemas.microsoft.com/office/drawing/2014/main" id="{9C5E640D-AC9E-4B4E-AA55-0DF0A9AA91CF}"/>
              </a:ext>
            </a:extLst>
          </p:cNvPr>
          <p:cNvSpPr txBox="1"/>
          <p:nvPr/>
        </p:nvSpPr>
        <p:spPr>
          <a:xfrm>
            <a:off x="2609314" y="6454379"/>
            <a:ext cx="6973372" cy="37110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unktionen</a:t>
            </a:r>
            <a:endParaRPr kumimoji="0" lang="de-DE" sz="167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rsche Next TT" panose="020B0504020101010102" pitchFamily="34" charset="0"/>
              <a:ea typeface="+mn-ea"/>
              <a:cs typeface="+mn-cs"/>
            </a:endParaRP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A27A00D9-CDEB-4AFB-B313-B62C3C5A60A8}"/>
              </a:ext>
            </a:extLst>
          </p:cNvPr>
          <p:cNvSpPr/>
          <p:nvPr/>
        </p:nvSpPr>
        <p:spPr>
          <a:xfrm>
            <a:off x="254056" y="1051528"/>
            <a:ext cx="2702692" cy="4523570"/>
          </a:xfrm>
          <a:prstGeom prst="rect">
            <a:avLst/>
          </a:prstGeom>
          <a:solidFill>
            <a:schemeClr val="accent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158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rsche Next TT"/>
              <a:ea typeface="+mn-ea"/>
              <a:cs typeface="+mn-cs"/>
            </a:endParaRPr>
          </a:p>
        </p:txBody>
      </p:sp>
      <p:sp>
        <p:nvSpPr>
          <p:cNvPr id="49" name="Rechteck 48">
            <a:hlinkClick r:id="rId7" action="ppaction://hlinksldjump"/>
            <a:extLst>
              <a:ext uri="{FF2B5EF4-FFF2-40B4-BE49-F238E27FC236}">
                <a16:creationId xmlns:a16="http://schemas.microsoft.com/office/drawing/2014/main" id="{A898882F-E912-412E-943B-594554E37143}"/>
              </a:ext>
            </a:extLst>
          </p:cNvPr>
          <p:cNvSpPr/>
          <p:nvPr/>
        </p:nvSpPr>
        <p:spPr>
          <a:xfrm>
            <a:off x="489827" y="4484769"/>
            <a:ext cx="2231151" cy="804793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630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798" b="1">
                <a:solidFill>
                  <a:prstClr val="white"/>
                </a:solidFill>
                <a:latin typeface="Porsche Next TT"/>
              </a:rPr>
              <a:t>f</a:t>
            </a:r>
            <a:r>
              <a:rPr kumimoji="0" lang="de-DE" sz="1798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rsche Next TT"/>
                <a:ea typeface="+mn-ea"/>
                <a:cs typeface="+mn-cs"/>
              </a:rPr>
              <a:t>req</a:t>
            </a:r>
            <a:r>
              <a:rPr kumimoji="0" lang="de-DE" sz="1798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rsche Next TT"/>
                <a:ea typeface="+mn-ea"/>
                <a:cs typeface="+mn-cs"/>
              </a:rPr>
              <a:t>()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AFE0FBA2-7055-482C-A9A8-BECE2DB45A1E}"/>
              </a:ext>
            </a:extLst>
          </p:cNvPr>
          <p:cNvSpPr/>
          <p:nvPr/>
        </p:nvSpPr>
        <p:spPr>
          <a:xfrm>
            <a:off x="9316905" y="1051528"/>
            <a:ext cx="2702692" cy="4523570"/>
          </a:xfrm>
          <a:prstGeom prst="rect">
            <a:avLst/>
          </a:prstGeom>
          <a:solidFill>
            <a:schemeClr val="accent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158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rsche Next TT"/>
              <a:ea typeface="+mn-ea"/>
              <a:cs typeface="+mn-cs"/>
            </a:endParaRPr>
          </a:p>
        </p:txBody>
      </p:sp>
      <p:sp>
        <p:nvSpPr>
          <p:cNvPr id="58" name="Rechteck 57">
            <a:hlinkClick r:id="rId8" action="ppaction://hlinksldjump"/>
            <a:extLst>
              <a:ext uri="{FF2B5EF4-FFF2-40B4-BE49-F238E27FC236}">
                <a16:creationId xmlns:a16="http://schemas.microsoft.com/office/drawing/2014/main" id="{84D000D8-62ED-47D7-AFA3-37493AF0173A}"/>
              </a:ext>
            </a:extLst>
          </p:cNvPr>
          <p:cNvSpPr/>
          <p:nvPr/>
        </p:nvSpPr>
        <p:spPr>
          <a:xfrm>
            <a:off x="9552676" y="4484769"/>
            <a:ext cx="2231151" cy="804793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630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798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rsche Next TT"/>
                <a:ea typeface="+mn-ea"/>
                <a:cs typeface="+mn-cs"/>
              </a:rPr>
              <a:t>dfSummary</a:t>
            </a:r>
            <a:r>
              <a:rPr kumimoji="0" lang="de-DE" sz="1798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rsche Next TT"/>
                <a:ea typeface="+mn-ea"/>
                <a:cs typeface="+mn-cs"/>
              </a:rPr>
              <a:t>()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E65B5352-9618-4A4A-AD9D-4B722FE63FA3}"/>
              </a:ext>
            </a:extLst>
          </p:cNvPr>
          <p:cNvSpPr/>
          <p:nvPr/>
        </p:nvSpPr>
        <p:spPr>
          <a:xfrm>
            <a:off x="3275005" y="1051528"/>
            <a:ext cx="2702692" cy="4523570"/>
          </a:xfrm>
          <a:prstGeom prst="rect">
            <a:avLst/>
          </a:prstGeom>
          <a:solidFill>
            <a:schemeClr val="accent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158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rsche Next TT"/>
              <a:ea typeface="+mn-ea"/>
              <a:cs typeface="+mn-cs"/>
            </a:endParaRPr>
          </a:p>
        </p:txBody>
      </p:sp>
      <p:sp>
        <p:nvSpPr>
          <p:cNvPr id="70" name="Rechteck 69">
            <a:hlinkClick r:id="rId9" action="ppaction://hlinksldjump"/>
            <a:extLst>
              <a:ext uri="{FF2B5EF4-FFF2-40B4-BE49-F238E27FC236}">
                <a16:creationId xmlns:a16="http://schemas.microsoft.com/office/drawing/2014/main" id="{4D8EDB92-A914-40B7-A42F-C3694F32D4C9}"/>
              </a:ext>
            </a:extLst>
          </p:cNvPr>
          <p:cNvSpPr/>
          <p:nvPr/>
        </p:nvSpPr>
        <p:spPr>
          <a:xfrm>
            <a:off x="3510776" y="4484769"/>
            <a:ext cx="2231151" cy="804793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630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798" b="1" err="1">
                <a:solidFill>
                  <a:prstClr val="white"/>
                </a:solidFill>
                <a:latin typeface="Porsche Next TT"/>
              </a:rPr>
              <a:t>ctable</a:t>
            </a:r>
            <a:r>
              <a:rPr lang="de-DE" sz="1798" b="1">
                <a:solidFill>
                  <a:prstClr val="white"/>
                </a:solidFill>
                <a:latin typeface="Porsche Next TT"/>
              </a:rPr>
              <a:t>()</a:t>
            </a:r>
            <a:endParaRPr kumimoji="0" lang="de-DE" sz="1798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rsche Next TT"/>
              <a:ea typeface="+mn-ea"/>
              <a:cs typeface="+mn-cs"/>
            </a:endParaRP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BB450696-B05D-4EBC-81AC-7B7149E715DB}"/>
              </a:ext>
            </a:extLst>
          </p:cNvPr>
          <p:cNvSpPr txBox="1">
            <a:spLocks/>
          </p:cNvSpPr>
          <p:nvPr/>
        </p:nvSpPr>
        <p:spPr>
          <a:xfrm>
            <a:off x="368026" y="317115"/>
            <a:ext cx="11492866" cy="442707"/>
          </a:xfrm>
        </p:spPr>
        <p:txBody>
          <a:bodyPr/>
          <a:lstStyle>
            <a:lvl1pPr algn="l" defTabSz="109609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77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de-DE" sz="3200">
                <a:ea typeface="Times New Roman" panose="02020603050405020304" pitchFamily="18" charset="0"/>
                <a:cs typeface="Times New Roman" panose="02020603050405020304" pitchFamily="18" charset="0"/>
              </a:rPr>
              <a:t>Funktionen</a:t>
            </a:r>
          </a:p>
        </p:txBody>
      </p:sp>
      <p:sp>
        <p:nvSpPr>
          <p:cNvPr id="72" name="Ellipse 71">
            <a:extLst>
              <a:ext uri="{FF2B5EF4-FFF2-40B4-BE49-F238E27FC236}">
                <a16:creationId xmlns:a16="http://schemas.microsoft.com/office/drawing/2014/main" id="{DA8FE83B-0745-4E4F-8AAC-6C04EDD45FF3}"/>
              </a:ext>
            </a:extLst>
          </p:cNvPr>
          <p:cNvSpPr/>
          <p:nvPr/>
        </p:nvSpPr>
        <p:spPr>
          <a:xfrm>
            <a:off x="4375958" y="1198821"/>
            <a:ext cx="500787" cy="500787"/>
          </a:xfrm>
          <a:prstGeom prst="ellipse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6304" rtlCol="0" anchor="ctr"/>
          <a:lstStyle/>
          <a:p>
            <a:pPr algn="ctr"/>
            <a:r>
              <a:rPr lang="de-DE" sz="1798" b="1">
                <a:solidFill>
                  <a:prstClr val="white"/>
                </a:solidFill>
                <a:latin typeface="Porsche Next TT"/>
                <a:sym typeface="+mn-lt"/>
              </a:rPr>
              <a:t>2</a:t>
            </a:r>
          </a:p>
        </p:txBody>
      </p:sp>
      <p:sp>
        <p:nvSpPr>
          <p:cNvPr id="53" name="Ellipse 52">
            <a:extLst>
              <a:ext uri="{FF2B5EF4-FFF2-40B4-BE49-F238E27FC236}">
                <a16:creationId xmlns:a16="http://schemas.microsoft.com/office/drawing/2014/main" id="{6549DE87-F81C-480E-97AC-D9865773DFCD}"/>
              </a:ext>
            </a:extLst>
          </p:cNvPr>
          <p:cNvSpPr/>
          <p:nvPr/>
        </p:nvSpPr>
        <p:spPr>
          <a:xfrm>
            <a:off x="1355009" y="1198821"/>
            <a:ext cx="500787" cy="500787"/>
          </a:xfrm>
          <a:prstGeom prst="ellipse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6304" rtlCol="0" anchor="ctr"/>
          <a:lstStyle/>
          <a:p>
            <a:pPr algn="ctr"/>
            <a:r>
              <a:rPr lang="de-DE" sz="1798" b="1">
                <a:solidFill>
                  <a:prstClr val="white"/>
                </a:solidFill>
                <a:latin typeface="Porsche Next TT"/>
                <a:sym typeface="+mn-lt"/>
              </a:rPr>
              <a:t>1</a:t>
            </a:r>
          </a:p>
        </p:txBody>
      </p:sp>
      <p:sp>
        <p:nvSpPr>
          <p:cNvPr id="66" name="Ellipse 65">
            <a:extLst>
              <a:ext uri="{FF2B5EF4-FFF2-40B4-BE49-F238E27FC236}">
                <a16:creationId xmlns:a16="http://schemas.microsoft.com/office/drawing/2014/main" id="{50152E7F-9A86-43AC-B8D7-F87B30A1C284}"/>
              </a:ext>
            </a:extLst>
          </p:cNvPr>
          <p:cNvSpPr/>
          <p:nvPr/>
        </p:nvSpPr>
        <p:spPr>
          <a:xfrm>
            <a:off x="7396907" y="1198821"/>
            <a:ext cx="500787" cy="500787"/>
          </a:xfrm>
          <a:prstGeom prst="ellipse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6304" rtlCol="0" anchor="ctr"/>
          <a:lstStyle/>
          <a:p>
            <a:pPr algn="ctr"/>
            <a:r>
              <a:rPr lang="de-DE" sz="1798" b="1">
                <a:solidFill>
                  <a:prstClr val="white"/>
                </a:solidFill>
                <a:latin typeface="Porsche Next TT"/>
                <a:sym typeface="+mn-lt"/>
              </a:rPr>
              <a:t>3</a:t>
            </a:r>
          </a:p>
        </p:txBody>
      </p:sp>
      <p:sp>
        <p:nvSpPr>
          <p:cNvPr id="60" name="Ellipse 59">
            <a:extLst>
              <a:ext uri="{FF2B5EF4-FFF2-40B4-BE49-F238E27FC236}">
                <a16:creationId xmlns:a16="http://schemas.microsoft.com/office/drawing/2014/main" id="{2FBD5E5F-9A5C-4265-9319-484EF4068099}"/>
              </a:ext>
            </a:extLst>
          </p:cNvPr>
          <p:cNvSpPr/>
          <p:nvPr/>
        </p:nvSpPr>
        <p:spPr>
          <a:xfrm>
            <a:off x="10417858" y="1198821"/>
            <a:ext cx="500787" cy="500787"/>
          </a:xfrm>
          <a:prstGeom prst="ellipse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6304" rtlCol="0" anchor="ctr"/>
          <a:lstStyle/>
          <a:p>
            <a:pPr algn="ctr"/>
            <a:r>
              <a:rPr lang="de-DE" sz="1798" b="1">
                <a:solidFill>
                  <a:prstClr val="white"/>
                </a:solidFill>
                <a:latin typeface="Porsche Next TT"/>
                <a:sym typeface="+mn-lt"/>
              </a:rPr>
              <a:t>4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9843E82-A3C5-4530-8FE0-446438AEDA27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46296" t="3221" r="22661" b="8969"/>
          <a:stretch/>
        </p:blipFill>
        <p:spPr>
          <a:xfrm>
            <a:off x="514729" y="1424996"/>
            <a:ext cx="2209800" cy="2954415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F8BF5E9F-FFD5-4CC4-85DF-389BC56D9B71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duotone>
              <a:prstClr val="black"/>
              <a:schemeClr val="accent4">
                <a:tint val="45000"/>
                <a:satMod val="400000"/>
              </a:schemeClr>
            </a:duotone>
          </a:blip>
          <a:srcRect l="13206" t="1" r="8745" b="14195"/>
          <a:stretch/>
        </p:blipFill>
        <p:spPr>
          <a:xfrm>
            <a:off x="3516416" y="1597876"/>
            <a:ext cx="2225511" cy="2004004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0D69EFED-1BB4-47C9-AB5E-5C8900A002E2}"/>
              </a:ext>
            </a:extLst>
          </p:cNvPr>
          <p:cNvSpPr/>
          <p:nvPr/>
        </p:nvSpPr>
        <p:spPr>
          <a:xfrm>
            <a:off x="1347537" y="1198821"/>
            <a:ext cx="519764" cy="500787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6304" rtlCol="0" anchor="ctr"/>
          <a:lstStyle/>
          <a:p>
            <a:pPr algn="ctr"/>
            <a:r>
              <a:rPr lang="de-DE" sz="1798" b="1">
                <a:solidFill>
                  <a:prstClr val="white"/>
                </a:solidFill>
                <a:latin typeface="Porsche Next TT"/>
              </a:rPr>
              <a:t>1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F8A00F3C-8270-4DF0-B1F5-FFECA084CC61}"/>
              </a:ext>
            </a:extLst>
          </p:cNvPr>
          <p:cNvSpPr/>
          <p:nvPr/>
        </p:nvSpPr>
        <p:spPr>
          <a:xfrm>
            <a:off x="4375958" y="1198821"/>
            <a:ext cx="519764" cy="500787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6304" rtlCol="0" anchor="ctr"/>
          <a:lstStyle/>
          <a:p>
            <a:pPr algn="ctr"/>
            <a:r>
              <a:rPr lang="de-DE" sz="1798" b="1">
                <a:solidFill>
                  <a:prstClr val="white"/>
                </a:solidFill>
                <a:latin typeface="Porsche Next TT"/>
              </a:rPr>
              <a:t>2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E2851DEC-5244-4C4D-9D1D-470A7D6DA4EC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t="1016" r="1362" b="6167"/>
          <a:stretch/>
        </p:blipFill>
        <p:spPr>
          <a:xfrm>
            <a:off x="6515910" y="1597875"/>
            <a:ext cx="2231151" cy="2781536"/>
          </a:xfrm>
          <a:prstGeom prst="rect">
            <a:avLst/>
          </a:prstGeom>
        </p:spPr>
      </p:pic>
      <p:sp>
        <p:nvSpPr>
          <p:cNvPr id="29" name="Rechteck 28">
            <a:extLst>
              <a:ext uri="{FF2B5EF4-FFF2-40B4-BE49-F238E27FC236}">
                <a16:creationId xmlns:a16="http://schemas.microsoft.com/office/drawing/2014/main" id="{AD986966-2F56-4689-BCDA-B00599C4B0A1}"/>
              </a:ext>
            </a:extLst>
          </p:cNvPr>
          <p:cNvSpPr/>
          <p:nvPr/>
        </p:nvSpPr>
        <p:spPr>
          <a:xfrm>
            <a:off x="7396907" y="1194106"/>
            <a:ext cx="519764" cy="500787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6304" rtlCol="0" anchor="ctr"/>
          <a:lstStyle/>
          <a:p>
            <a:pPr algn="ctr"/>
            <a:r>
              <a:rPr lang="de-DE" sz="1798" b="1">
                <a:solidFill>
                  <a:prstClr val="white"/>
                </a:solidFill>
                <a:latin typeface="Porsche Next TT"/>
              </a:rPr>
              <a:t>3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0EB31CC9-AC4E-4E8E-9CDB-1723E59F247C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1201" r="44832"/>
          <a:stretch/>
        </p:blipFill>
        <p:spPr>
          <a:xfrm>
            <a:off x="9582686" y="1597875"/>
            <a:ext cx="2207270" cy="2004004"/>
          </a:xfrm>
          <a:prstGeom prst="rect">
            <a:avLst/>
          </a:prstGeom>
        </p:spPr>
      </p:pic>
      <p:sp>
        <p:nvSpPr>
          <p:cNvPr id="30" name="Rechteck 29">
            <a:extLst>
              <a:ext uri="{FF2B5EF4-FFF2-40B4-BE49-F238E27FC236}">
                <a16:creationId xmlns:a16="http://schemas.microsoft.com/office/drawing/2014/main" id="{C0889EBF-DC36-4690-B7AD-3736D1F26C1A}"/>
              </a:ext>
            </a:extLst>
          </p:cNvPr>
          <p:cNvSpPr/>
          <p:nvPr/>
        </p:nvSpPr>
        <p:spPr>
          <a:xfrm>
            <a:off x="10408368" y="1198821"/>
            <a:ext cx="519764" cy="500787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6304" rtlCol="0" anchor="ctr"/>
          <a:lstStyle/>
          <a:p>
            <a:pPr algn="ctr"/>
            <a:r>
              <a:rPr lang="de-DE" sz="1798" b="1">
                <a:solidFill>
                  <a:prstClr val="white"/>
                </a:solidFill>
                <a:latin typeface="Porsche Next TT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89547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E07506AB-41C7-4784-8465-B01B131938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/>
              <a:t>freq</a:t>
            </a:r>
            <a:r>
              <a:rPr lang="de-DE"/>
              <a:t>()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41482012-D536-440D-831E-F9A43EB271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9990" y="2276779"/>
            <a:ext cx="11142009" cy="2754258"/>
          </a:xfrm>
          <a:prstGeom prst="rect">
            <a:avLst/>
          </a:prstGeom>
        </p:spPr>
      </p:pic>
      <p:sp>
        <p:nvSpPr>
          <p:cNvPr id="7" name="textBoxChapter">
            <a:extLst>
              <a:ext uri="{FF2B5EF4-FFF2-40B4-BE49-F238E27FC236}">
                <a16:creationId xmlns:a16="http://schemas.microsoft.com/office/drawing/2014/main" id="{310C8B0F-3293-4D7F-927A-7D0CD92E563E}"/>
              </a:ext>
            </a:extLst>
          </p:cNvPr>
          <p:cNvSpPr txBox="1"/>
          <p:nvPr/>
        </p:nvSpPr>
        <p:spPr>
          <a:xfrm>
            <a:off x="2609314" y="6454379"/>
            <a:ext cx="6973372" cy="37110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unktionen/ </a:t>
            </a:r>
            <a:r>
              <a:rPr lang="de-DE" sz="1800" err="1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req</a:t>
            </a:r>
            <a:r>
              <a:rPr lang="de-DE" sz="180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endParaRPr kumimoji="0" lang="de-DE" sz="167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rsche Next TT" panose="020B0504020101010102" pitchFamily="34" charset="0"/>
              <a:ea typeface="+mn-ea"/>
              <a:cs typeface="+mn-cs"/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D1AF5D96-A58D-456C-8ABD-6718679BD1DE}"/>
              </a:ext>
            </a:extLst>
          </p:cNvPr>
          <p:cNvGrpSpPr/>
          <p:nvPr/>
        </p:nvGrpSpPr>
        <p:grpSpPr>
          <a:xfrm>
            <a:off x="1049991" y="1183341"/>
            <a:ext cx="11916709" cy="617969"/>
            <a:chOff x="1049991" y="1183341"/>
            <a:chExt cx="11916709" cy="617969"/>
          </a:xfrm>
        </p:grpSpPr>
        <p:sp>
          <p:nvSpPr>
            <p:cNvPr id="9" name="Rechteck 5">
              <a:extLst>
                <a:ext uri="{FF2B5EF4-FFF2-40B4-BE49-F238E27FC236}">
                  <a16:creationId xmlns:a16="http://schemas.microsoft.com/office/drawing/2014/main" id="{B34ED740-C622-4D6E-AF10-955A092A6CE0}"/>
                </a:ext>
              </a:extLst>
            </p:cNvPr>
            <p:cNvSpPr/>
            <p:nvPr/>
          </p:nvSpPr>
          <p:spPr>
            <a:xfrm>
              <a:off x="1049991" y="1183341"/>
              <a:ext cx="11916709" cy="442707"/>
            </a:xfrm>
            <a:custGeom>
              <a:avLst/>
              <a:gdLst>
                <a:gd name="connsiteX0" fmla="*/ 0 w 9681883"/>
                <a:gd name="connsiteY0" fmla="*/ 0 h 442707"/>
                <a:gd name="connsiteX1" fmla="*/ 9681883 w 9681883"/>
                <a:gd name="connsiteY1" fmla="*/ 0 h 442707"/>
                <a:gd name="connsiteX2" fmla="*/ 9681883 w 9681883"/>
                <a:gd name="connsiteY2" fmla="*/ 442707 h 442707"/>
                <a:gd name="connsiteX3" fmla="*/ 0 w 9681883"/>
                <a:gd name="connsiteY3" fmla="*/ 442707 h 442707"/>
                <a:gd name="connsiteX4" fmla="*/ 0 w 9681883"/>
                <a:gd name="connsiteY4" fmla="*/ 0 h 442707"/>
                <a:gd name="connsiteX0" fmla="*/ 0 w 9681883"/>
                <a:gd name="connsiteY0" fmla="*/ 0 h 442707"/>
                <a:gd name="connsiteX1" fmla="*/ 9049872 w 9681883"/>
                <a:gd name="connsiteY1" fmla="*/ 0 h 442707"/>
                <a:gd name="connsiteX2" fmla="*/ 9681883 w 9681883"/>
                <a:gd name="connsiteY2" fmla="*/ 442707 h 442707"/>
                <a:gd name="connsiteX3" fmla="*/ 0 w 9681883"/>
                <a:gd name="connsiteY3" fmla="*/ 442707 h 442707"/>
                <a:gd name="connsiteX4" fmla="*/ 0 w 9681883"/>
                <a:gd name="connsiteY4" fmla="*/ 0 h 442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681883" h="442707">
                  <a:moveTo>
                    <a:pt x="0" y="0"/>
                  </a:moveTo>
                  <a:lnTo>
                    <a:pt x="9049872" y="0"/>
                  </a:lnTo>
                  <a:lnTo>
                    <a:pt x="9681883" y="442707"/>
                  </a:lnTo>
                  <a:lnTo>
                    <a:pt x="0" y="44270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EEEEE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err="1">
                <a:solidFill>
                  <a:schemeClr val="tx1"/>
                </a:solidFill>
              </a:endParaRPr>
            </a:p>
          </p:txBody>
        </p:sp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1F2075EA-5AA3-4A04-A46D-91330475A8B7}"/>
                </a:ext>
              </a:extLst>
            </p:cNvPr>
            <p:cNvSpPr txBox="1"/>
            <p:nvPr/>
          </p:nvSpPr>
          <p:spPr>
            <a:xfrm>
              <a:off x="1128993" y="1247312"/>
              <a:ext cx="9883588" cy="55399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err="1">
                  <a:solidFill>
                    <a:srgbClr val="3A6B9B"/>
                  </a:solidFill>
                </a:rPr>
                <a:t>freq</a:t>
              </a:r>
              <a:r>
                <a:rPr lang="en-US" sz="2000" b="1">
                  <a:solidFill>
                    <a:srgbClr val="3A6B9B"/>
                  </a:solidFill>
                </a:rPr>
                <a:t>(</a:t>
              </a:r>
              <a:r>
                <a:rPr lang="en-US" sz="2000" b="1" err="1">
                  <a:solidFill>
                    <a:srgbClr val="3A6B9B"/>
                  </a:solidFill>
                </a:rPr>
                <a:t>happiness$Regional.indicator</a:t>
              </a:r>
              <a:r>
                <a:rPr lang="en-US" sz="2000" b="1">
                  <a:solidFill>
                    <a:srgbClr val="3A6B9B"/>
                  </a:solidFill>
                </a:rPr>
                <a:t>, order = "</a:t>
              </a:r>
              <a:r>
                <a:rPr lang="en-US" sz="2000" b="1" err="1">
                  <a:solidFill>
                    <a:srgbClr val="3A6B9B"/>
                  </a:solidFill>
                </a:rPr>
                <a:t>freq</a:t>
              </a:r>
              <a:r>
                <a:rPr lang="en-US" sz="2000" b="1">
                  <a:solidFill>
                    <a:srgbClr val="3A6B9B"/>
                  </a:solidFill>
                </a:rPr>
                <a:t>", rows = 1:5, headings = FALSE)</a:t>
              </a:r>
            </a:p>
            <a:p>
              <a:endParaRPr lang="de-DE" sz="1600" err="1"/>
            </a:p>
          </p:txBody>
        </p:sp>
      </p:grpSp>
    </p:spTree>
    <p:extLst>
      <p:ext uri="{BB962C8B-B14F-4D97-AF65-F5344CB8AC3E}">
        <p14:creationId xmlns:p14="http://schemas.microsoft.com/office/powerpoint/2010/main" val="2267372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UGzIpWukGrFUQY2_1Z7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UGzIpWukGrFUQY2_1Z7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UGzIpWukGrFUQY2_1Z7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UGzIpWukGrFUQY2_1Z7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orsche 16zu9 Mastervorlage ohne Navigation 2013">
  <a:themeElements>
    <a:clrScheme name="Porsche CI 2017 Farbpalette">
      <a:dk1>
        <a:sysClr val="windowText" lastClr="000000"/>
      </a:dk1>
      <a:lt1>
        <a:sysClr val="window" lastClr="FFFFFF"/>
      </a:lt1>
      <a:dk2>
        <a:srgbClr val="403F45"/>
      </a:dk2>
      <a:lt2>
        <a:srgbClr val="DAD9DE"/>
      </a:lt2>
      <a:accent1>
        <a:srgbClr val="737278"/>
      </a:accent1>
      <a:accent2>
        <a:srgbClr val="D5001C"/>
      </a:accent2>
      <a:accent3>
        <a:srgbClr val="B5B4BA"/>
      </a:accent3>
      <a:accent4>
        <a:srgbClr val="DAD9DE"/>
      </a:accent4>
      <a:accent5>
        <a:srgbClr val="FFFFFF"/>
      </a:accent5>
      <a:accent6>
        <a:srgbClr val="336699"/>
      </a:accent6>
      <a:hlink>
        <a:srgbClr val="B5B4BA"/>
      </a:hlink>
      <a:folHlink>
        <a:srgbClr val="DAD9DE"/>
      </a:folHlink>
    </a:clrScheme>
    <a:fontScheme name="Porsche Next TT">
      <a:majorFont>
        <a:latin typeface="Porsche Next TT"/>
        <a:ea typeface=""/>
        <a:cs typeface=""/>
      </a:majorFont>
      <a:minorFont>
        <a:latin typeface="Porsche Next T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317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Custom Color 1">
      <a:srgbClr val="2A4B6D"/>
    </a:custClr>
    <a:custClr name="Custom Color 2">
      <a:srgbClr val="3A6B9B"/>
    </a:custClr>
    <a:custClr name="Custom Color 3">
      <a:srgbClr val="5391C4"/>
    </a:custClr>
    <a:custClr name="Custom Color 4">
      <a:srgbClr val="76AFDC"/>
    </a:custClr>
    <a:custClr name="Custom Color 5">
      <a:srgbClr val="658E11"/>
    </a:custClr>
    <a:custClr name="Custom Color 6">
      <a:srgbClr val="8CB527"/>
    </a:custClr>
    <a:custClr name="Custom Color 7">
      <a:srgbClr val="D88711"/>
    </a:custClr>
    <a:custClr name="Custom Color 8">
      <a:srgbClr val="F2A100"/>
    </a:custClr>
    <a:custClr name="Custom Color 9">
      <a:srgbClr val="94001B"/>
    </a:custClr>
    <a:custClr name="Custom Color 10">
      <a:srgbClr val="C32718"/>
    </a:custClr>
  </a:custClrLst>
  <a:extLst>
    <a:ext uri="{05A4C25C-085E-4340-85A3-A5531E510DB2}">
      <thm15:themeFamily xmlns:thm15="http://schemas.microsoft.com/office/thememl/2012/main" name="Porsche Präsentations-Master-Vorlagen.pptx" id="{1F5CB06A-EF12-4B65-BFD5-537058F6CA9C}" vid="{3D9C66F8-33BE-4D66-A7AF-F8B76D9C5AE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26F42711D3991439EE54E2E9E944843" ma:contentTypeVersion="13" ma:contentTypeDescription="Ein neues Dokument erstellen." ma:contentTypeScope="" ma:versionID="5e6442d8a2a048149127290a744f7608">
  <xsd:schema xmlns:xsd="http://www.w3.org/2001/XMLSchema" xmlns:xs="http://www.w3.org/2001/XMLSchema" xmlns:p="http://schemas.microsoft.com/office/2006/metadata/properties" xmlns:ns3="fe46f5ad-e0ed-4491-ac1b-f367d6477974" xmlns:ns4="fe345392-43cf-4a3a-9698-a456f9572e0d" targetNamespace="http://schemas.microsoft.com/office/2006/metadata/properties" ma:root="true" ma:fieldsID="27988de04b062d097760afa78a5d5833" ns3:_="" ns4:_="">
    <xsd:import namespace="fe46f5ad-e0ed-4491-ac1b-f367d6477974"/>
    <xsd:import namespace="fe345392-43cf-4a3a-9698-a456f9572e0d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Locatio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e46f5ad-e0ed-4491-ac1b-f367d647797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e345392-43cf-4a3a-9698-a456f9572e0d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Freigabehinweis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5D30137-3A81-48A4-B117-567A9B7BE978}">
  <ds:schemaRefs>
    <ds:schemaRef ds:uri="fe345392-43cf-4a3a-9698-a456f9572e0d"/>
    <ds:schemaRef ds:uri="fe46f5ad-e0ed-4491-ac1b-f367d647797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89C2B880-CDB6-44C8-B1F6-2F60C8E03EE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9D6803B-6856-4D00-95C9-73DF3BC89201}">
  <ds:schemaRefs>
    <ds:schemaRef ds:uri="fe345392-43cf-4a3a-9698-a456f9572e0d"/>
    <ds:schemaRef ds:uri="fe46f5ad-e0ed-4491-ac1b-f367d647797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55</Words>
  <Application>Microsoft Office PowerPoint</Application>
  <PresentationFormat>Breitbild</PresentationFormat>
  <Paragraphs>187</Paragraphs>
  <Slides>22</Slides>
  <Notes>17</Notes>
  <HiddenSlides>2</HiddenSlides>
  <MMClips>0</MMClips>
  <ScaleCrop>false</ScaleCrop>
  <HeadingPairs>
    <vt:vector size="8" baseType="variant">
      <vt:variant>
        <vt:lpstr>Verwendete Schriftarten</vt:lpstr>
      </vt:variant>
      <vt:variant>
        <vt:i4>11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2</vt:i4>
      </vt:variant>
    </vt:vector>
  </HeadingPairs>
  <TitlesOfParts>
    <vt:vector size="35" baseType="lpstr">
      <vt:lpstr>Arial</vt:lpstr>
      <vt:lpstr>Calibri</vt:lpstr>
      <vt:lpstr>Consolas</vt:lpstr>
      <vt:lpstr>NewsGoth for Porsche Com</vt:lpstr>
      <vt:lpstr>Open Sans</vt:lpstr>
      <vt:lpstr>Porsche News Gothic</vt:lpstr>
      <vt:lpstr>Porsche Next TT</vt:lpstr>
      <vt:lpstr>Symbol</vt:lpstr>
      <vt:lpstr>Systemschrift</vt:lpstr>
      <vt:lpstr>Whitney</vt:lpstr>
      <vt:lpstr>Wingdings</vt:lpstr>
      <vt:lpstr>Porsche 16zu9 Mastervorlage ohne Navigation 2013</vt:lpstr>
      <vt:lpstr>think-cell Folie</vt:lpstr>
      <vt:lpstr>PowerPoint-Präsentation</vt:lpstr>
      <vt:lpstr>PowerPoint-Präsentation</vt:lpstr>
      <vt:lpstr>PowerPoint-Präsentation</vt:lpstr>
      <vt:lpstr> </vt:lpstr>
      <vt:lpstr> </vt:lpstr>
      <vt:lpstr>Anzeigen</vt:lpstr>
      <vt:lpstr>PowerPoint-Präsentation</vt:lpstr>
      <vt:lpstr> </vt:lpstr>
      <vt:lpstr>freq()</vt:lpstr>
      <vt:lpstr>freq()</vt:lpstr>
      <vt:lpstr>freq()</vt:lpstr>
      <vt:lpstr>ctable()</vt:lpstr>
      <vt:lpstr>ctable()</vt:lpstr>
      <vt:lpstr>ctable()</vt:lpstr>
      <vt:lpstr>descr()</vt:lpstr>
      <vt:lpstr>descr()</vt:lpstr>
      <vt:lpstr>dfSummary()</vt:lpstr>
      <vt:lpstr>PowerPoint-Präsentation</vt:lpstr>
      <vt:lpstr>Quellen</vt:lpstr>
      <vt:lpstr>PowerPoint-Präsentation</vt:lpstr>
      <vt:lpstr>PowerPoint-Präsentation</vt:lpstr>
      <vt:lpstr>ctable(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Jonas Gagelmann</dc:creator>
  <cp:lastModifiedBy>Jonas Gagelmann</cp:lastModifiedBy>
  <cp:revision>1</cp:revision>
  <dcterms:created xsi:type="dcterms:W3CDTF">2021-01-02T10:59:10Z</dcterms:created>
  <dcterms:modified xsi:type="dcterms:W3CDTF">2021-05-06T07:31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26F42711D3991439EE54E2E9E944843</vt:lpwstr>
  </property>
</Properties>
</file>